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69" r:id="rId1"/>
  </p:sldMasterIdLst>
  <p:notesMasterIdLst>
    <p:notesMasterId r:id="rId7"/>
  </p:notesMasterIdLst>
  <p:sldIdLst>
    <p:sldId id="268" r:id="rId2"/>
    <p:sldId id="267" r:id="rId3"/>
    <p:sldId id="270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319"/>
    <a:srgbClr val="CC9900"/>
    <a:srgbClr val="0070C0"/>
    <a:srgbClr val="FFFFFF"/>
    <a:srgbClr val="02A2EA"/>
    <a:srgbClr val="595959"/>
    <a:srgbClr val="00FF00"/>
    <a:srgbClr val="E8FCFC"/>
    <a:srgbClr val="CDF0FF"/>
    <a:srgbClr val="297E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94" autoAdjust="0"/>
    <p:restoredTop sz="96473" autoAdjust="0"/>
  </p:normalViewPr>
  <p:slideViewPr>
    <p:cSldViewPr snapToGrid="0">
      <p:cViewPr varScale="1">
        <p:scale>
          <a:sx n="113" d="100"/>
          <a:sy n="113" d="100"/>
        </p:scale>
        <p:origin x="138" y="1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B0B77E-396D-455B-9B82-20C99F810697}" type="datetimeFigureOut">
              <a:rPr lang="en-GB" smtClean="0"/>
              <a:t>31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5DBEDB-E08F-4417-994C-47B81165DB0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9028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2896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057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444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760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052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622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223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042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864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10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708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164158-0CE9-4349-B3F5-2F2E57F0D0C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31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259CC6-7B72-4137-928D-D85C24DCBB6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57054">
                <a:srgbClr val="EEEEEE"/>
              </a:gs>
              <a:gs pos="0">
                <a:schemeClr val="bg1"/>
              </a:gs>
              <a:gs pos="74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280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50" Type="http://schemas.openxmlformats.org/officeDocument/2006/relationships/slideLayout" Target="../slideLayouts/slideLayout7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41" Type="http://schemas.openxmlformats.org/officeDocument/2006/relationships/tags" Target="../tags/tag49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8" Type="http://schemas.openxmlformats.org/officeDocument/2006/relationships/tags" Target="../tags/tag16.xml"/><Relationship Id="rId51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ct 10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2393365" y="2364826"/>
            <a:ext cx="7405270" cy="2128348"/>
            <a:chOff x="1054512" y="2826956"/>
            <a:chExt cx="7405270" cy="2128348"/>
          </a:xfrm>
        </p:grpSpPr>
        <p:cxnSp>
          <p:nvCxnSpPr>
            <p:cNvPr id="55" name="Straight Connector 54"/>
            <p:cNvCxnSpPr/>
            <p:nvPr>
              <p:custDataLst>
                <p:tags r:id="rId4"/>
              </p:custDataLst>
            </p:nvPr>
          </p:nvCxnSpPr>
          <p:spPr>
            <a:xfrm>
              <a:off x="3101245" y="2826956"/>
              <a:ext cx="0" cy="2128348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>
            <a:xfrm>
              <a:off x="1054512" y="2828184"/>
              <a:ext cx="1819729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5400" dirty="0" smtClean="0">
                  <a:solidFill>
                    <a:srgbClr val="02A2EA"/>
                  </a:solidFill>
                  <a:latin typeface="District Pro Thin" panose="02000506040000020004" pitchFamily="50" charset="0"/>
                </a:rPr>
                <a:t>20XX</a:t>
              </a:r>
              <a:endParaRPr lang="en-GB" sz="5400" dirty="0">
                <a:solidFill>
                  <a:srgbClr val="02A2EA"/>
                </a:solidFill>
                <a:latin typeface="District Pro Thin" panose="02000506040000020004" pitchFamily="50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283365" y="2828184"/>
              <a:ext cx="5176417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2400">
                  <a:solidFill>
                    <a:srgbClr val="71B5FF"/>
                  </a:solidFill>
                  <a:latin typeface="District Pro Thin" panose="02000506040000020004" pitchFamily="50" charset="0"/>
                </a:defRPr>
              </a:lvl1pPr>
            </a:lstStyle>
            <a:p>
              <a:r>
                <a:rPr lang="en-GB" sz="5400" dirty="0" smtClean="0">
                  <a:solidFill>
                    <a:srgbClr val="297ECB"/>
                  </a:solidFill>
                </a:rPr>
                <a:t>Report Title Here</a:t>
              </a:r>
              <a:endParaRPr lang="en-GB" sz="5400" dirty="0">
                <a:solidFill>
                  <a:srgbClr val="297ECB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283365" y="4493639"/>
              <a:ext cx="283904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rgbClr val="02A2EA"/>
                  </a:solidFill>
                  <a:latin typeface="District Pro Thin" panose="02000506040000020004" pitchFamily="50" charset="0"/>
                </a:rPr>
                <a:t>Report Subtitle Here</a:t>
              </a:r>
              <a:endParaRPr lang="en-GB" sz="2400" dirty="0">
                <a:solidFill>
                  <a:srgbClr val="02A2EA"/>
                </a:solidFill>
                <a:latin typeface="District Pro Thin" panose="02000506040000020004" pitchFamily="50" charset="0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90259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ct 10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/>
          <p:nvPr/>
        </p:nvGrpSpPr>
        <p:grpSpPr>
          <a:xfrm>
            <a:off x="3788010" y="2364372"/>
            <a:ext cx="3614938" cy="2129256"/>
            <a:chOff x="3630826" y="2551629"/>
            <a:chExt cx="3614938" cy="2129256"/>
          </a:xfrm>
        </p:grpSpPr>
        <p:cxnSp>
          <p:nvCxnSpPr>
            <p:cNvPr id="55" name="Straight Connector 54"/>
            <p:cNvCxnSpPr/>
            <p:nvPr>
              <p:custDataLst>
                <p:tags r:id="rId4"/>
              </p:custDataLst>
            </p:nvPr>
          </p:nvCxnSpPr>
          <p:spPr>
            <a:xfrm flipH="1">
              <a:off x="5516523" y="4200153"/>
              <a:ext cx="93524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3707963" y="2551629"/>
              <a:ext cx="2297616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Supervisor:</a:t>
              </a:r>
            </a:p>
            <a:p>
              <a:pPr algn="r"/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Associate Supervisor:</a:t>
              </a:r>
            </a:p>
            <a:p>
              <a:pPr algn="r"/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Industrial Contact:</a:t>
              </a:r>
              <a:endParaRPr lang="en-GB" dirty="0">
                <a:solidFill>
                  <a:srgbClr val="595959"/>
                </a:solidFill>
                <a:latin typeface="District Pro Thin" panose="02000506040000020004" pitchFamily="50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963297" y="2551629"/>
              <a:ext cx="1282467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Dr. </a:t>
              </a:r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---------</a:t>
              </a:r>
              <a:endParaRPr lang="en-GB" dirty="0" smtClean="0">
                <a:solidFill>
                  <a:srgbClr val="595959"/>
                </a:solidFill>
                <a:latin typeface="District Pro Thin" panose="02000506040000020004" pitchFamily="50" charset="0"/>
              </a:endParaRPr>
            </a:p>
            <a:p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Dr. </a:t>
              </a:r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--------- </a:t>
              </a:r>
            </a:p>
            <a:p>
              <a:r>
                <a:rPr lang="en-GB" dirty="0" smtClean="0">
                  <a:solidFill>
                    <a:srgbClr val="595959"/>
                  </a:solidFill>
                  <a:latin typeface="District Pro Thin" panose="02000506040000020004" pitchFamily="50" charset="0"/>
                </a:rPr>
                <a:t>Mr. --------- </a:t>
              </a:r>
              <a:endParaRPr lang="en-GB" dirty="0">
                <a:solidFill>
                  <a:srgbClr val="595959"/>
                </a:solidFill>
                <a:latin typeface="District Pro Thin" panose="02000506040000020004" pitchFamily="50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630826" y="3697761"/>
              <a:ext cx="23747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rgbClr val="595959"/>
                  </a:solidFill>
                  <a:latin typeface="District Pro Thin" panose="02000506040000020004" pitchFamily="50" charset="0"/>
                </a:defRPr>
              </a:lvl1pPr>
            </a:lstStyle>
            <a:p>
              <a:r>
                <a:rPr lang="en-GB" dirty="0" smtClean="0"/>
                <a:t>Independent Assessor:</a:t>
              </a:r>
              <a:endParaRPr lang="en-GB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963297" y="3719420"/>
              <a:ext cx="11910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rgbClr val="595959"/>
                  </a:solidFill>
                  <a:latin typeface="District Pro Thin" panose="02000506040000020004" pitchFamily="50" charset="0"/>
                </a:defRPr>
              </a:lvl1pPr>
            </a:lstStyle>
            <a:p>
              <a:pPr algn="l"/>
              <a:r>
                <a:rPr lang="en-GB" dirty="0" smtClean="0"/>
                <a:t>Dr</a:t>
              </a:r>
              <a:r>
                <a:rPr lang="en-GB" dirty="0"/>
                <a:t>. </a:t>
              </a:r>
              <a:r>
                <a:rPr lang="en-GB" dirty="0" smtClean="0"/>
                <a:t>---------</a:t>
              </a:r>
              <a:endParaRPr lang="en-GB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305690" y="4311553"/>
              <a:ext cx="16998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rgbClr val="595959"/>
                  </a:solidFill>
                  <a:latin typeface="District Pro Thin" panose="02000506040000020004" pitchFamily="50" charset="0"/>
                </a:defRPr>
              </a:lvl1pPr>
            </a:lstStyle>
            <a:p>
              <a:r>
                <a:rPr lang="en-GB" dirty="0"/>
                <a:t>PhD </a:t>
              </a:r>
              <a:r>
                <a:rPr lang="en-GB" dirty="0" smtClean="0"/>
                <a:t>Candidate:</a:t>
              </a:r>
              <a:endParaRPr lang="en-GB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963297" y="4311553"/>
              <a:ext cx="126297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rgbClr val="595959"/>
                  </a:solidFill>
                  <a:latin typeface="District Pro Thin" panose="02000506040000020004" pitchFamily="50" charset="0"/>
                </a:defRPr>
              </a:lvl1pPr>
            </a:lstStyle>
            <a:p>
              <a:pPr algn="l"/>
              <a:r>
                <a:rPr lang="en-GB" dirty="0" smtClean="0"/>
                <a:t>Ms. </a:t>
              </a:r>
              <a:r>
                <a:rPr lang="en-GB" dirty="0" smtClean="0"/>
                <a:t>---------</a:t>
              </a:r>
              <a:endParaRPr lang="en-GB" dirty="0"/>
            </a:p>
          </p:txBody>
        </p:sp>
        <p:cxnSp>
          <p:nvCxnSpPr>
            <p:cNvPr id="22" name="Straight Connector 21"/>
            <p:cNvCxnSpPr/>
            <p:nvPr>
              <p:custDataLst>
                <p:tags r:id="rId5"/>
              </p:custDataLst>
            </p:nvPr>
          </p:nvCxnSpPr>
          <p:spPr>
            <a:xfrm flipH="1">
              <a:off x="5516523" y="3586360"/>
              <a:ext cx="93524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695064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157387"/>
              </p:ext>
            </p:extLst>
          </p:nvPr>
        </p:nvGraphicFramePr>
        <p:xfrm>
          <a:off x="2032000" y="1659793"/>
          <a:ext cx="8128000" cy="2835225"/>
        </p:xfrm>
        <a:graphic>
          <a:graphicData uri="http://schemas.openxmlformats.org/drawingml/2006/table">
            <a:tbl>
              <a:tblPr firstRow="1" bandRow="1">
                <a:solidFill>
                  <a:srgbClr val="02A2EA"/>
                </a:solidFill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xmlns="" val="257999913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xmlns="" val="79686557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Here’s </a:t>
                      </a:r>
                      <a:r>
                        <a:rPr lang="en-GB" baseline="0" dirty="0" smtClean="0"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a summary image/table of the preceding section</a:t>
                      </a:r>
                      <a:endParaRPr lang="en-GB" dirty="0">
                        <a:latin typeface="CMU Serif" panose="02000603000000000000" pitchFamily="2" charset="0"/>
                        <a:ea typeface="CMU Serif" panose="02000603000000000000" pitchFamily="2" charset="0"/>
                        <a:cs typeface="CMU Serif" panose="02000603000000000000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0070C0">
                            <a:shade val="30000"/>
                            <a:satMod val="115000"/>
                          </a:srgbClr>
                        </a:gs>
                        <a:gs pos="50000">
                          <a:srgbClr val="0070C0">
                            <a:shade val="67500"/>
                            <a:satMod val="115000"/>
                          </a:srgbClr>
                        </a:gs>
                        <a:gs pos="100000">
                          <a:srgbClr val="0070C0">
                            <a:shade val="100000"/>
                            <a:satMod val="115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86202086"/>
                  </a:ext>
                </a:extLst>
              </a:tr>
              <a:tr h="1029090">
                <a:tc>
                  <a:txBody>
                    <a:bodyPr/>
                    <a:lstStyle/>
                    <a:p>
                      <a:pPr marL="342900" indent="-342900" algn="ctr">
                        <a:buFont typeface="+mj-lt"/>
                        <a:buAutoNum type="arabicPeriod"/>
                      </a:pPr>
                      <a:r>
                        <a:rPr lang="en-GB" sz="1800" kern="1200" baseline="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This is a trait of the literature, or a characteristic of the industry, our product, </a:t>
                      </a:r>
                      <a:r>
                        <a:rPr lang="en-GB" sz="1800" kern="1200" baseline="0" dirty="0" err="1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etc</a:t>
                      </a:r>
                      <a:r>
                        <a:rPr lang="en-GB" sz="1800" kern="1200" baseline="30000" dirty="0" err="1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a</a:t>
                      </a:r>
                      <a:r>
                        <a:rPr lang="en-GB" sz="1800" kern="1200" baseline="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.</a:t>
                      </a:r>
                      <a:endParaRPr lang="en-GB" sz="1800" kern="1200" dirty="0">
                        <a:solidFill>
                          <a:srgbClr val="595959"/>
                        </a:solidFill>
                        <a:latin typeface="CMU Serif" panose="02000603000000000000" pitchFamily="2" charset="0"/>
                        <a:ea typeface="CMU Serif" panose="02000603000000000000" pitchFamily="2" charset="0"/>
                        <a:cs typeface="CMU Serif" panose="02000603000000000000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r>
                        <a:rPr lang="en-GB" baseline="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You’re getting the idea.</a:t>
                      </a:r>
                      <a:endParaRPr lang="en-GB" dirty="0" smtClean="0">
                        <a:solidFill>
                          <a:srgbClr val="595959"/>
                        </a:solidFill>
                        <a:latin typeface="CMU Serif" panose="02000603000000000000" pitchFamily="2" charset="0"/>
                        <a:ea typeface="CMU Serif" panose="02000603000000000000" pitchFamily="2" charset="0"/>
                        <a:cs typeface="CMU Serif" panose="02000603000000000000" pitchFamily="2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35589309"/>
                  </a:ext>
                </a:extLst>
              </a:tr>
              <a:tr h="1064455">
                <a:tc>
                  <a:txBody>
                    <a:bodyPr/>
                    <a:lstStyle/>
                    <a:p>
                      <a:pPr marL="342900" indent="-342900" algn="ctr">
                        <a:buFont typeface="+mj-lt"/>
                        <a:buAutoNum type="arabicPeriod" startAt="2"/>
                      </a:pPr>
                      <a:r>
                        <a:rPr lang="en-GB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Here’s another trait</a:t>
                      </a:r>
                      <a:r>
                        <a:rPr lang="en-GB" baseline="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.</a:t>
                      </a:r>
                      <a:endParaRPr lang="en-GB" dirty="0">
                        <a:solidFill>
                          <a:srgbClr val="595959"/>
                        </a:solidFill>
                        <a:latin typeface="CMU Serif" panose="02000603000000000000" pitchFamily="2" charset="0"/>
                        <a:ea typeface="CMU Serif" panose="02000603000000000000" pitchFamily="2" charset="0"/>
                        <a:cs typeface="CMU Serif" panose="02000603000000000000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en-GB" sz="1800" kern="120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You’re tired of the idea</a:t>
                      </a:r>
                      <a:r>
                        <a:rPr lang="en-GB" sz="1800" kern="1200" baseline="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.</a:t>
                      </a:r>
                      <a:endParaRPr lang="en-GB" sz="1800" kern="1200" dirty="0" smtClean="0">
                        <a:solidFill>
                          <a:srgbClr val="595959"/>
                        </a:solidFill>
                        <a:latin typeface="CMU Serif" panose="02000603000000000000" pitchFamily="2" charset="0"/>
                        <a:ea typeface="CMU Serif" panose="02000603000000000000" pitchFamily="2" charset="0"/>
                        <a:cs typeface="CMU Serif" panose="02000603000000000000" pitchFamily="2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7421676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342900" indent="-342900" algn="ctr" defTabSz="914400" rtl="0" eaLnBrk="1" latinLnBrk="0" hangingPunct="1">
                        <a:buFont typeface="+mj-lt"/>
                        <a:buAutoNum type="arabicPeriod" startAt="3"/>
                      </a:pPr>
                      <a:r>
                        <a:rPr lang="en-GB" baseline="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And another</a:t>
                      </a:r>
                      <a:r>
                        <a:rPr lang="en-GB" sz="1800" kern="1200" baseline="0" dirty="0" smtClean="0">
                          <a:solidFill>
                            <a:srgbClr val="595959"/>
                          </a:solidFill>
                          <a:latin typeface="CMU Serif" panose="02000603000000000000" pitchFamily="2" charset="0"/>
                          <a:ea typeface="CMU Serif" panose="02000603000000000000" pitchFamily="2" charset="0"/>
                          <a:cs typeface="CMU Serif" panose="02000603000000000000" pitchFamily="2" charset="0"/>
                        </a:rPr>
                        <a:t>.</a:t>
                      </a:r>
                      <a:endParaRPr lang="en-GB" sz="1800" kern="1200" dirty="0">
                        <a:solidFill>
                          <a:srgbClr val="595959"/>
                        </a:solidFill>
                        <a:latin typeface="CMU Serif" panose="02000603000000000000" pitchFamily="2" charset="0"/>
                        <a:ea typeface="CMU Serif" panose="02000603000000000000" pitchFamily="2" charset="0"/>
                        <a:cs typeface="CMU Serif" panose="02000603000000000000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+mj-lt"/>
                        <a:buNone/>
                      </a:pPr>
                      <a:endParaRPr lang="en-GB" sz="1800" kern="1200" dirty="0">
                        <a:solidFill>
                          <a:srgbClr val="595959"/>
                        </a:solidFill>
                        <a:latin typeface="CMU Serif" panose="02000603000000000000" pitchFamily="2" charset="0"/>
                        <a:ea typeface="CMU Serif" panose="02000603000000000000" pitchFamily="2" charset="0"/>
                        <a:cs typeface="CMU Serif" panose="02000603000000000000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42242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1619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ct 10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>
            <p:custDataLst>
              <p:tags r:id="rId4"/>
            </p:custDataLst>
          </p:nvPr>
        </p:nvSpPr>
        <p:spPr>
          <a:xfrm>
            <a:off x="2061812" y="290546"/>
            <a:ext cx="9977788" cy="210040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57974" y="2539576"/>
            <a:ext cx="212617" cy="1988398"/>
            <a:chOff x="57974" y="2548016"/>
            <a:chExt cx="212617" cy="1988398"/>
          </a:xfrm>
        </p:grpSpPr>
        <p:sp>
          <p:nvSpPr>
            <p:cNvPr id="207" name="TextBox 206"/>
            <p:cNvSpPr txBox="1"/>
            <p:nvPr>
              <p:custDataLst>
                <p:tags r:id="rId48"/>
              </p:custDataLst>
            </p:nvPr>
          </p:nvSpPr>
          <p:spPr>
            <a:xfrm rot="5400000" flipH="1">
              <a:off x="-681765" y="3317120"/>
              <a:ext cx="1692095" cy="15388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r>
                <a:rPr lang="en-US" sz="1000" i="1" dirty="0" smtClean="0">
                  <a:solidFill>
                    <a:schemeClr val="tx2"/>
                  </a:solidFill>
                  <a:latin typeface="Century Gothic" panose="020B0502020202020204" pitchFamily="34" charset="0"/>
                </a:rPr>
                <a:t>Decreasing Relevance</a:t>
              </a:r>
              <a:endParaRPr lang="en-US" sz="1000" i="1" dirty="0">
                <a:solidFill>
                  <a:schemeClr val="tx2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09" name="Right Arrow 208"/>
            <p:cNvSpPr/>
            <p:nvPr>
              <p:custDataLst>
                <p:tags r:id="rId49"/>
              </p:custDataLst>
            </p:nvPr>
          </p:nvSpPr>
          <p:spPr>
            <a:xfrm rot="5400000">
              <a:off x="-24673" y="4241150"/>
              <a:ext cx="377911" cy="212617"/>
            </a:xfrm>
            <a:prstGeom prst="rightArrow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30" name="TextBox 129"/>
          <p:cNvSpPr txBox="1"/>
          <p:nvPr>
            <p:custDataLst>
              <p:tags r:id="rId5"/>
            </p:custDataLst>
          </p:nvPr>
        </p:nvSpPr>
        <p:spPr>
          <a:xfrm>
            <a:off x="3329923" y="239503"/>
            <a:ext cx="1647536" cy="30373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Current Field of Work</a:t>
            </a:r>
            <a:endParaRPr lang="en-US"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1" name="TextBox 130"/>
          <p:cNvSpPr txBox="1"/>
          <p:nvPr>
            <p:custDataLst>
              <p:tags r:id="rId6"/>
            </p:custDataLst>
          </p:nvPr>
        </p:nvSpPr>
        <p:spPr>
          <a:xfrm>
            <a:off x="6635310" y="239503"/>
            <a:ext cx="2432244" cy="30373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 smtClean="0"/>
              <a:t>Short </a:t>
            </a:r>
            <a:r>
              <a:rPr lang="en-US" dirty="0"/>
              <a:t>Term Possibilities</a:t>
            </a:r>
          </a:p>
        </p:txBody>
      </p:sp>
      <p:sp>
        <p:nvSpPr>
          <p:cNvPr id="212" name="TextBox 211"/>
          <p:cNvSpPr txBox="1"/>
          <p:nvPr>
            <p:custDataLst>
              <p:tags r:id="rId7"/>
            </p:custDataLst>
          </p:nvPr>
        </p:nvSpPr>
        <p:spPr>
          <a:xfrm>
            <a:off x="9567169" y="239503"/>
            <a:ext cx="2432244" cy="30373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ong Term Possibilities </a:t>
            </a:r>
          </a:p>
        </p:txBody>
      </p:sp>
      <p:cxnSp>
        <p:nvCxnSpPr>
          <p:cNvPr id="216" name="Straight Connector 215"/>
          <p:cNvCxnSpPr/>
          <p:nvPr>
            <p:custDataLst>
              <p:tags r:id="rId8"/>
            </p:custDataLst>
          </p:nvPr>
        </p:nvCxnSpPr>
        <p:spPr>
          <a:xfrm>
            <a:off x="6161323" y="800589"/>
            <a:ext cx="0" cy="5661873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>
            <p:custDataLst>
              <p:tags r:id="rId9"/>
            </p:custDataLst>
          </p:nvPr>
        </p:nvCxnSpPr>
        <p:spPr>
          <a:xfrm>
            <a:off x="9572290" y="800589"/>
            <a:ext cx="0" cy="2189399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>
            <a:endCxn id="93" idx="1"/>
          </p:cNvCxnSpPr>
          <p:nvPr>
            <p:custDataLst>
              <p:tags r:id="rId10"/>
            </p:custDataLst>
          </p:nvPr>
        </p:nvCxnSpPr>
        <p:spPr>
          <a:xfrm flipH="1">
            <a:off x="349767" y="1805754"/>
            <a:ext cx="11689834" cy="1761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6187492" y="32610"/>
            <a:ext cx="792561" cy="212617"/>
            <a:chOff x="5858246" y="-24540"/>
            <a:chExt cx="792561" cy="212617"/>
          </a:xfrm>
        </p:grpSpPr>
        <p:sp>
          <p:nvSpPr>
            <p:cNvPr id="210" name="TextBox 209"/>
            <p:cNvSpPr txBox="1"/>
            <p:nvPr>
              <p:custDataLst>
                <p:tags r:id="rId46"/>
              </p:custDataLst>
            </p:nvPr>
          </p:nvSpPr>
          <p:spPr>
            <a:xfrm>
              <a:off x="5858246" y="8771"/>
              <a:ext cx="330623" cy="15388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r>
                <a:rPr lang="en-US" sz="1000" i="1" dirty="0" smtClean="0">
                  <a:solidFill>
                    <a:schemeClr val="tx2"/>
                  </a:solidFill>
                  <a:latin typeface="Century Gothic" panose="020B0502020202020204" pitchFamily="34" charset="0"/>
                </a:rPr>
                <a:t>Time</a:t>
              </a:r>
              <a:endParaRPr lang="en-US" sz="1000" i="1" dirty="0">
                <a:solidFill>
                  <a:schemeClr val="tx2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2" name="Right Arrow 221"/>
            <p:cNvSpPr/>
            <p:nvPr>
              <p:custDataLst>
                <p:tags r:id="rId47"/>
              </p:custDataLst>
            </p:nvPr>
          </p:nvSpPr>
          <p:spPr>
            <a:xfrm>
              <a:off x="6272896" y="-24540"/>
              <a:ext cx="377911" cy="212617"/>
            </a:xfrm>
            <a:prstGeom prst="rightArrow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37" name="Straight Connector 236"/>
          <p:cNvCxnSpPr/>
          <p:nvPr>
            <p:custDataLst>
              <p:tags r:id="rId11"/>
            </p:custDataLst>
          </p:nvPr>
        </p:nvCxnSpPr>
        <p:spPr>
          <a:xfrm flipH="1">
            <a:off x="270591" y="4037738"/>
            <a:ext cx="11769009" cy="0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Chevron 244"/>
          <p:cNvSpPr/>
          <p:nvPr>
            <p:custDataLst>
              <p:tags r:id="rId12"/>
            </p:custDataLst>
          </p:nvPr>
        </p:nvSpPr>
        <p:spPr>
          <a:xfrm>
            <a:off x="6070202" y="1163599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414165" y="2259689"/>
            <a:ext cx="1369614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en-GB" b="1" dirty="0"/>
              <a:t>A competitor, or a collaborator</a:t>
            </a:r>
            <a:endParaRPr lang="en-GB" dirty="0"/>
          </a:p>
        </p:txBody>
      </p:sp>
      <p:sp>
        <p:nvSpPr>
          <p:cNvPr id="250" name="Chevron 249"/>
          <p:cNvSpPr/>
          <p:nvPr>
            <p:custDataLst>
              <p:tags r:id="rId13"/>
            </p:custDataLst>
          </p:nvPr>
        </p:nvSpPr>
        <p:spPr>
          <a:xfrm>
            <a:off x="6070202" y="2307269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352088" y="4533128"/>
            <a:ext cx="1493769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en-GB" b="1" dirty="0"/>
              <a:t>A competitor, or a collaborator</a:t>
            </a:r>
            <a:endParaRPr lang="en-GB" dirty="0"/>
          </a:p>
        </p:txBody>
      </p:sp>
      <p:sp>
        <p:nvSpPr>
          <p:cNvPr id="251" name="Chevron 250"/>
          <p:cNvSpPr/>
          <p:nvPr>
            <p:custDataLst>
              <p:tags r:id="rId14"/>
            </p:custDataLst>
          </p:nvPr>
        </p:nvSpPr>
        <p:spPr>
          <a:xfrm>
            <a:off x="6070202" y="4580708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349766" y="3355403"/>
            <a:ext cx="1498412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en-GB" b="1" dirty="0"/>
              <a:t>A competitor, or a collaborator</a:t>
            </a:r>
            <a:endParaRPr lang="en-GB" dirty="0"/>
          </a:p>
        </p:txBody>
      </p:sp>
      <p:sp>
        <p:nvSpPr>
          <p:cNvPr id="252" name="Chevron 251"/>
          <p:cNvSpPr/>
          <p:nvPr>
            <p:custDataLst>
              <p:tags r:id="rId15"/>
            </p:custDataLst>
          </p:nvPr>
        </p:nvSpPr>
        <p:spPr>
          <a:xfrm>
            <a:off x="6070202" y="3402983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257" name="Straight Connector 256"/>
          <p:cNvCxnSpPr/>
          <p:nvPr>
            <p:custDataLst>
              <p:tags r:id="rId16"/>
            </p:custDataLst>
          </p:nvPr>
        </p:nvCxnSpPr>
        <p:spPr>
          <a:xfrm flipH="1">
            <a:off x="270591" y="5328987"/>
            <a:ext cx="11769009" cy="0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Chevron 259"/>
          <p:cNvSpPr/>
          <p:nvPr>
            <p:custDataLst>
              <p:tags r:id="rId17"/>
            </p:custDataLst>
          </p:nvPr>
        </p:nvSpPr>
        <p:spPr>
          <a:xfrm>
            <a:off x="9481169" y="1163599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2" name="Chevron 261"/>
          <p:cNvSpPr/>
          <p:nvPr>
            <p:custDataLst>
              <p:tags r:id="rId18"/>
            </p:custDataLst>
          </p:nvPr>
        </p:nvSpPr>
        <p:spPr>
          <a:xfrm>
            <a:off x="9481169" y="2307269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0" name="TextBox 269"/>
          <p:cNvSpPr txBox="1"/>
          <p:nvPr>
            <p:custDataLst>
              <p:tags r:id="rId19"/>
            </p:custDataLst>
          </p:nvPr>
        </p:nvSpPr>
        <p:spPr>
          <a:xfrm>
            <a:off x="2061813" y="2344328"/>
            <a:ext cx="1889194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they’re doing now.</a:t>
            </a:r>
          </a:p>
        </p:txBody>
      </p:sp>
      <p:sp>
        <p:nvSpPr>
          <p:cNvPr id="272" name="TextBox 271"/>
          <p:cNvSpPr txBox="1"/>
          <p:nvPr>
            <p:custDataLst>
              <p:tags r:id="rId20"/>
            </p:custDataLst>
          </p:nvPr>
        </p:nvSpPr>
        <p:spPr>
          <a:xfrm>
            <a:off x="4018578" y="2275078"/>
            <a:ext cx="1874515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More of what </a:t>
            </a: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they’re </a:t>
            </a: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doing now.</a:t>
            </a:r>
            <a:endParaRPr lang="en-US" sz="9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75" name="TextBox 274"/>
          <p:cNvSpPr txBox="1"/>
          <p:nvPr>
            <p:custDataLst>
              <p:tags r:id="rId21"/>
            </p:custDataLst>
          </p:nvPr>
        </p:nvSpPr>
        <p:spPr>
          <a:xfrm>
            <a:off x="6353142" y="2344328"/>
            <a:ext cx="2613911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you expect they’ll be doing soon.</a:t>
            </a:r>
          </a:p>
        </p:txBody>
      </p:sp>
      <p:sp>
        <p:nvSpPr>
          <p:cNvPr id="281" name="TextBox 280"/>
          <p:cNvSpPr txBox="1"/>
          <p:nvPr>
            <p:custDataLst>
              <p:tags r:id="rId22"/>
            </p:custDataLst>
          </p:nvPr>
        </p:nvSpPr>
        <p:spPr>
          <a:xfrm>
            <a:off x="2061812" y="4617766"/>
            <a:ext cx="1752569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they’re doing now.</a:t>
            </a:r>
          </a:p>
        </p:txBody>
      </p:sp>
      <p:sp>
        <p:nvSpPr>
          <p:cNvPr id="282" name="TextBox 281"/>
          <p:cNvSpPr txBox="1"/>
          <p:nvPr>
            <p:custDataLst>
              <p:tags r:id="rId23"/>
            </p:custDataLst>
          </p:nvPr>
        </p:nvSpPr>
        <p:spPr>
          <a:xfrm>
            <a:off x="4018578" y="4548517"/>
            <a:ext cx="1752569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More of what </a:t>
            </a: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they’re </a:t>
            </a: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doing now.</a:t>
            </a:r>
            <a:endParaRPr lang="en-US" sz="9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83" name="TextBox 282"/>
          <p:cNvSpPr txBox="1"/>
          <p:nvPr>
            <p:custDataLst>
              <p:tags r:id="rId24"/>
            </p:custDataLst>
          </p:nvPr>
        </p:nvSpPr>
        <p:spPr>
          <a:xfrm>
            <a:off x="2061812" y="3440042"/>
            <a:ext cx="1752569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they’re doing now.</a:t>
            </a:r>
          </a:p>
        </p:txBody>
      </p:sp>
      <p:sp>
        <p:nvSpPr>
          <p:cNvPr id="285" name="TextBox 284"/>
          <p:cNvSpPr txBox="1"/>
          <p:nvPr>
            <p:custDataLst>
              <p:tags r:id="rId25"/>
            </p:custDataLst>
          </p:nvPr>
        </p:nvSpPr>
        <p:spPr>
          <a:xfrm>
            <a:off x="4018578" y="3370792"/>
            <a:ext cx="1874515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More of what </a:t>
            </a: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they’re </a:t>
            </a: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doing now.</a:t>
            </a:r>
            <a:endParaRPr lang="en-US" sz="9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86" name="TextBox 285"/>
          <p:cNvSpPr txBox="1"/>
          <p:nvPr>
            <p:custDataLst>
              <p:tags r:id="rId26"/>
            </p:custDataLst>
          </p:nvPr>
        </p:nvSpPr>
        <p:spPr>
          <a:xfrm>
            <a:off x="6353144" y="3440042"/>
            <a:ext cx="532450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you expect they’ll be doing soon.</a:t>
            </a:r>
          </a:p>
        </p:txBody>
      </p:sp>
      <p:sp>
        <p:nvSpPr>
          <p:cNvPr id="287" name="TextBox 286"/>
          <p:cNvSpPr txBox="1"/>
          <p:nvPr>
            <p:custDataLst>
              <p:tags r:id="rId27"/>
            </p:custDataLst>
          </p:nvPr>
        </p:nvSpPr>
        <p:spPr>
          <a:xfrm>
            <a:off x="6353144" y="4617767"/>
            <a:ext cx="2883050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you expect they’ll be doing soon.</a:t>
            </a:r>
          </a:p>
        </p:txBody>
      </p:sp>
      <p:sp>
        <p:nvSpPr>
          <p:cNvPr id="60" name="TextBox 59"/>
          <p:cNvSpPr txBox="1"/>
          <p:nvPr>
            <p:custDataLst>
              <p:tags r:id="rId28"/>
            </p:custDataLst>
          </p:nvPr>
        </p:nvSpPr>
        <p:spPr>
          <a:xfrm>
            <a:off x="9732697" y="2275078"/>
            <a:ext cx="2209669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The direction you estimate they’ll take </a:t>
            </a: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far into the </a:t>
            </a: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future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49766" y="1192963"/>
            <a:ext cx="1498412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en-GB" b="1" dirty="0" smtClean="0"/>
              <a:t>You</a:t>
            </a:r>
            <a:endParaRPr lang="en-GB" b="1" dirty="0"/>
          </a:p>
        </p:txBody>
      </p:sp>
      <p:sp>
        <p:nvSpPr>
          <p:cNvPr id="77" name="TextBox 76"/>
          <p:cNvSpPr txBox="1"/>
          <p:nvPr>
            <p:custDataLst>
              <p:tags r:id="rId29"/>
            </p:custDataLst>
          </p:nvPr>
        </p:nvSpPr>
        <p:spPr>
          <a:xfrm>
            <a:off x="2057170" y="1200658"/>
            <a:ext cx="1752569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What you’re doing now.</a:t>
            </a:r>
            <a:endParaRPr lang="en-US" sz="9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0"/>
            </p:custDataLst>
          </p:nvPr>
        </p:nvSpPr>
        <p:spPr>
          <a:xfrm>
            <a:off x="4013936" y="1131408"/>
            <a:ext cx="1752569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ore of what you’re </a:t>
            </a: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doing now.</a:t>
            </a:r>
          </a:p>
        </p:txBody>
      </p:sp>
      <p:sp>
        <p:nvSpPr>
          <p:cNvPr id="79" name="TextBox 78"/>
          <p:cNvSpPr txBox="1"/>
          <p:nvPr>
            <p:custDataLst>
              <p:tags r:id="rId31"/>
            </p:custDataLst>
          </p:nvPr>
        </p:nvSpPr>
        <p:spPr>
          <a:xfrm>
            <a:off x="6348501" y="1200657"/>
            <a:ext cx="2618553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What you expect you’ll be doing soon.</a:t>
            </a:r>
            <a:endParaRPr lang="en-US" sz="9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2"/>
            </p:custDataLst>
          </p:nvPr>
        </p:nvSpPr>
        <p:spPr>
          <a:xfrm>
            <a:off x="9728055" y="1131407"/>
            <a:ext cx="2333856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The direction you estimate you’ll take far into the future.</a:t>
            </a:r>
            <a:endParaRPr lang="en-US" sz="9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1" name="Straight Connector 80"/>
          <p:cNvCxnSpPr/>
          <p:nvPr>
            <p:custDataLst>
              <p:tags r:id="rId33"/>
            </p:custDataLst>
          </p:nvPr>
        </p:nvCxnSpPr>
        <p:spPr>
          <a:xfrm flipH="1">
            <a:off x="270591" y="2989988"/>
            <a:ext cx="11769009" cy="0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233562" y="5737229"/>
            <a:ext cx="1730820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en-GB" b="1" dirty="0"/>
              <a:t>A competitor, or a collaborator</a:t>
            </a:r>
            <a:endParaRPr lang="en-GB" dirty="0"/>
          </a:p>
        </p:txBody>
      </p:sp>
      <p:sp>
        <p:nvSpPr>
          <p:cNvPr id="85" name="Chevron 84"/>
          <p:cNvSpPr/>
          <p:nvPr>
            <p:custDataLst>
              <p:tags r:id="rId34"/>
            </p:custDataLst>
          </p:nvPr>
        </p:nvSpPr>
        <p:spPr>
          <a:xfrm>
            <a:off x="6070202" y="5784809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6" name="TextBox 85"/>
          <p:cNvSpPr txBox="1"/>
          <p:nvPr>
            <p:custDataLst>
              <p:tags r:id="rId35"/>
            </p:custDataLst>
          </p:nvPr>
        </p:nvSpPr>
        <p:spPr>
          <a:xfrm>
            <a:off x="2057169" y="5821868"/>
            <a:ext cx="1752569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they’re doing now.</a:t>
            </a:r>
          </a:p>
        </p:txBody>
      </p:sp>
      <p:sp>
        <p:nvSpPr>
          <p:cNvPr id="87" name="TextBox 86"/>
          <p:cNvSpPr txBox="1"/>
          <p:nvPr>
            <p:custDataLst>
              <p:tags r:id="rId36"/>
            </p:custDataLst>
          </p:nvPr>
        </p:nvSpPr>
        <p:spPr>
          <a:xfrm>
            <a:off x="4013935" y="5752617"/>
            <a:ext cx="1752569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More of what </a:t>
            </a: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they’re </a:t>
            </a: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doing now.</a:t>
            </a:r>
            <a:endParaRPr lang="en-US" sz="9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7"/>
            </p:custDataLst>
          </p:nvPr>
        </p:nvSpPr>
        <p:spPr>
          <a:xfrm>
            <a:off x="6348500" y="5821868"/>
            <a:ext cx="4600607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What you expect they’ll be doing soon.</a:t>
            </a:r>
          </a:p>
        </p:txBody>
      </p:sp>
      <p:sp>
        <p:nvSpPr>
          <p:cNvPr id="90" name="TextBox 89"/>
          <p:cNvSpPr txBox="1"/>
          <p:nvPr>
            <p:custDataLst>
              <p:tags r:id="rId38"/>
            </p:custDataLst>
          </p:nvPr>
        </p:nvSpPr>
        <p:spPr>
          <a:xfrm>
            <a:off x="9706912" y="4548517"/>
            <a:ext cx="2246211" cy="27699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The direction you estimate they’ll take </a:t>
            </a:r>
            <a:r>
              <a:rPr lang="en-US" sz="9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far into the </a:t>
            </a:r>
            <a:r>
              <a:rPr lang="en-US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future.</a:t>
            </a:r>
          </a:p>
        </p:txBody>
      </p:sp>
      <p:sp>
        <p:nvSpPr>
          <p:cNvPr id="92" name="Rectangle 91"/>
          <p:cNvSpPr/>
          <p:nvPr>
            <p:custDataLst>
              <p:tags r:id="rId39"/>
            </p:custDataLst>
          </p:nvPr>
        </p:nvSpPr>
        <p:spPr>
          <a:xfrm flipV="1">
            <a:off x="349767" y="723299"/>
            <a:ext cx="11689834" cy="4753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3" name="Rectangle 92"/>
          <p:cNvSpPr/>
          <p:nvPr>
            <p:custDataLst>
              <p:tags r:id="rId40"/>
            </p:custDataLst>
          </p:nvPr>
        </p:nvSpPr>
        <p:spPr>
          <a:xfrm flipV="1">
            <a:off x="349767" y="1783749"/>
            <a:ext cx="11689834" cy="4753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96" name="Straight Connector 95"/>
          <p:cNvCxnSpPr/>
          <p:nvPr>
            <p:custDataLst>
              <p:tags r:id="rId41"/>
            </p:custDataLst>
          </p:nvPr>
        </p:nvCxnSpPr>
        <p:spPr>
          <a:xfrm>
            <a:off x="9572290" y="4038255"/>
            <a:ext cx="0" cy="1290732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Chevron 97"/>
          <p:cNvSpPr/>
          <p:nvPr>
            <p:custDataLst>
              <p:tags r:id="rId42"/>
            </p:custDataLst>
          </p:nvPr>
        </p:nvSpPr>
        <p:spPr>
          <a:xfrm>
            <a:off x="9481169" y="4580708"/>
            <a:ext cx="182243" cy="212617"/>
          </a:xfrm>
          <a:prstGeom prst="chevron">
            <a:avLst>
              <a:gd name="adj" fmla="val 3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99" name="Straight Connector 98"/>
          <p:cNvCxnSpPr/>
          <p:nvPr>
            <p:custDataLst>
              <p:tags r:id="rId43"/>
            </p:custDataLst>
          </p:nvPr>
        </p:nvCxnSpPr>
        <p:spPr>
          <a:xfrm flipH="1">
            <a:off x="270591" y="6462462"/>
            <a:ext cx="11769009" cy="0"/>
          </a:xfrm>
          <a:prstGeom prst="line">
            <a:avLst/>
          </a:prstGeom>
          <a:ln w="1270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350927" y="239503"/>
            <a:ext cx="1496091" cy="303738"/>
            <a:chOff x="378015" y="239503"/>
            <a:chExt cx="1496091" cy="303738"/>
          </a:xfrm>
        </p:grpSpPr>
        <p:sp>
          <p:nvSpPr>
            <p:cNvPr id="100" name="Rounded Rectangle 99"/>
            <p:cNvSpPr/>
            <p:nvPr>
              <p:custDataLst>
                <p:tags r:id="rId44"/>
              </p:custDataLst>
            </p:nvPr>
          </p:nvSpPr>
          <p:spPr>
            <a:xfrm>
              <a:off x="378015" y="290546"/>
              <a:ext cx="1496091" cy="210040"/>
            </a:xfrm>
            <a:prstGeom prst="roundRect">
              <a:avLst/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>
              <a:reflection blurRad="6350" stA="50000" endA="300" endPos="55500" dist="50800" dir="5400000" sy="-100000" algn="bl" rotWithShape="0"/>
            </a:effectLst>
            <a:scene3d>
              <a:camera prst="orthographicFront"/>
              <a:lightRig rig="threePt" dir="t">
                <a:rot lat="0" lon="0" rev="8700000"/>
              </a:lightRig>
            </a:scene3d>
            <a:sp3d>
              <a:bevelT w="165100" h="1905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TextBox 100"/>
            <p:cNvSpPr txBox="1"/>
            <p:nvPr>
              <p:custDataLst>
                <p:tags r:id="rId45"/>
              </p:custDataLst>
            </p:nvPr>
          </p:nvSpPr>
          <p:spPr>
            <a:xfrm>
              <a:off x="658977" y="239503"/>
              <a:ext cx="934167" cy="303738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Century Gothic" panose="020B0502020202020204" pitchFamily="34" charset="0"/>
                </a:rPr>
                <a:t>Group</a:t>
              </a:r>
              <a:endParaRPr lang="en-US" sz="1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699895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ct 10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957800" y="2621349"/>
            <a:ext cx="8276400" cy="1615303"/>
            <a:chOff x="1957800" y="2891311"/>
            <a:chExt cx="8276400" cy="1615303"/>
          </a:xfrm>
        </p:grpSpPr>
        <p:grpSp>
          <p:nvGrpSpPr>
            <p:cNvPr id="4" name="Group 3"/>
            <p:cNvGrpSpPr/>
            <p:nvPr/>
          </p:nvGrpSpPr>
          <p:grpSpPr>
            <a:xfrm>
              <a:off x="1957800" y="2891311"/>
              <a:ext cx="8276400" cy="881704"/>
              <a:chOff x="414867" y="3492501"/>
              <a:chExt cx="8276400" cy="881704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414867" y="3492501"/>
                <a:ext cx="1796400" cy="347189"/>
              </a:xfrm>
              <a:prstGeom prst="rect">
                <a:avLst/>
              </a:prstGeom>
              <a:gradFill flip="none" rotWithShape="1">
                <a:gsLst>
                  <a:gs pos="14000">
                    <a:srgbClr val="02A2EA"/>
                  </a:gs>
                  <a:gs pos="100000">
                    <a:srgbClr val="92D7F6"/>
                  </a:gs>
                  <a:gs pos="61000">
                    <a:srgbClr val="25AFED"/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>
                <a:solidFill>
                  <a:srgbClr val="59595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211267" y="3492501"/>
                <a:ext cx="6480000" cy="347189"/>
              </a:xfrm>
              <a:prstGeom prst="rect">
                <a:avLst/>
              </a:prstGeom>
              <a:noFill/>
              <a:ln>
                <a:solidFill>
                  <a:srgbClr val="59595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" name="TextBox 2"/>
              <p:cNvSpPr txBox="1"/>
              <p:nvPr/>
            </p:nvSpPr>
            <p:spPr>
              <a:xfrm>
                <a:off x="888110" y="3912540"/>
                <a:ext cx="84991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2400" dirty="0" smtClean="0">
                    <a:latin typeface="CMU Serif" panose="02000603000000000000" pitchFamily="2" charset="0"/>
                    <a:ea typeface="CMU Serif" panose="02000603000000000000" pitchFamily="2" charset="0"/>
                    <a:cs typeface="CMU Serif" panose="02000603000000000000" pitchFamily="2" charset="0"/>
                  </a:rPr>
                  <a:t>28 %</a:t>
                </a:r>
                <a:endParaRPr lang="en-GB" sz="2400" dirty="0">
                  <a:latin typeface="CMU Serif" panose="02000603000000000000" pitchFamily="2" charset="0"/>
                  <a:ea typeface="CMU Serif" panose="02000603000000000000" pitchFamily="2" charset="0"/>
                  <a:cs typeface="CMU Serif" panose="02000603000000000000" pitchFamily="2" charset="0"/>
                </a:endParaRPr>
              </a:p>
            </p:txBody>
          </p:sp>
          <p:sp>
            <p:nvSpPr>
              <p:cNvPr id="6" name="TextBox 5"/>
              <p:cNvSpPr txBox="1"/>
              <p:nvPr/>
            </p:nvSpPr>
            <p:spPr>
              <a:xfrm>
                <a:off x="5026310" y="3912540"/>
                <a:ext cx="84991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2400" dirty="0" smtClean="0">
                    <a:latin typeface="CMU Serif" panose="02000603000000000000" pitchFamily="2" charset="0"/>
                    <a:ea typeface="CMU Serif" panose="02000603000000000000" pitchFamily="2" charset="0"/>
                    <a:cs typeface="CMU Serif" panose="02000603000000000000" pitchFamily="2" charset="0"/>
                  </a:rPr>
                  <a:t>72 %</a:t>
                </a:r>
                <a:endParaRPr lang="en-GB" sz="2400" dirty="0">
                  <a:latin typeface="CMU Serif" panose="02000603000000000000" pitchFamily="2" charset="0"/>
                  <a:ea typeface="CMU Serif" panose="02000603000000000000" pitchFamily="2" charset="0"/>
                  <a:cs typeface="CMU Serif" panose="02000603000000000000" pitchFamily="2" charset="0"/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7991899" y="3773015"/>
              <a:ext cx="2242301" cy="733599"/>
              <a:chOff x="7855118" y="4148523"/>
              <a:chExt cx="2242301" cy="733599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855118" y="4207189"/>
                <a:ext cx="252000" cy="252000"/>
              </a:xfrm>
              <a:prstGeom prst="rect">
                <a:avLst/>
              </a:prstGeom>
              <a:gradFill flip="none" rotWithShape="1">
                <a:gsLst>
                  <a:gs pos="14000">
                    <a:srgbClr val="02A2EA"/>
                  </a:gs>
                  <a:gs pos="100000">
                    <a:srgbClr val="92D7F6"/>
                  </a:gs>
                  <a:gs pos="61000">
                    <a:srgbClr val="25AFED"/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>
                <a:solidFill>
                  <a:srgbClr val="59595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8229600" y="4512790"/>
                <a:ext cx="186781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dirty="0" smtClean="0">
                    <a:latin typeface="CMU Serif" panose="02000603000000000000" pitchFamily="2" charset="0"/>
                    <a:ea typeface="CMU Serif" panose="02000603000000000000" pitchFamily="2" charset="0"/>
                    <a:cs typeface="CMU Serif" panose="02000603000000000000" pitchFamily="2" charset="0"/>
                  </a:rPr>
                  <a:t>Time Remaining</a:t>
                </a:r>
                <a:endParaRPr lang="en-GB" dirty="0">
                  <a:latin typeface="CMU Serif" panose="02000603000000000000" pitchFamily="2" charset="0"/>
                  <a:ea typeface="CMU Serif" panose="02000603000000000000" pitchFamily="2" charset="0"/>
                  <a:cs typeface="CMU Serif" panose="02000603000000000000" pitchFamily="2" charset="0"/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8229600" y="4148523"/>
                <a:ext cx="128272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dirty="0" smtClean="0">
                    <a:latin typeface="CMU Serif" panose="02000603000000000000" pitchFamily="2" charset="0"/>
                    <a:ea typeface="CMU Serif" panose="02000603000000000000" pitchFamily="2" charset="0"/>
                    <a:cs typeface="CMU Serif" panose="02000603000000000000" pitchFamily="2" charset="0"/>
                  </a:rPr>
                  <a:t>Time Used</a:t>
                </a:r>
                <a:endParaRPr lang="en-GB" dirty="0">
                  <a:latin typeface="CMU Serif" panose="02000603000000000000" pitchFamily="2" charset="0"/>
                  <a:ea typeface="CMU Serif" panose="02000603000000000000" pitchFamily="2" charset="0"/>
                  <a:cs typeface="CMU Serif" panose="02000603000000000000" pitchFamily="2" charset="0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855118" y="4571456"/>
                <a:ext cx="252000" cy="252000"/>
              </a:xfrm>
              <a:prstGeom prst="rect">
                <a:avLst/>
              </a:prstGeom>
              <a:noFill/>
              <a:ln>
                <a:solidFill>
                  <a:srgbClr val="59595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18705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JSZW5kZXJpbmdPcHRpb25zIjp7Ik1pbGVzdG9uZXNPdmVybGFwcGluZ0hhbmRsaW5nT3B0aW9ucyI6MiwiVGFza3NXaXRoVGl0bGVzTG9uZ2VyVGhhblRoZVRhc2tTaGFwZURldGVjdGVkIjpmYWxzZX0sIlJlbmRlcmluZ01hcCI6eyJNaWxlc3RvbmVzIjpbeyJNaWxlc3RvbmVJZCI6ImQ4NmUxNTJhLTI3OTAtNDU4OC1hYTYyLTk0Nzc5ZTFkZmJlOSIsIlRpdGxlU2hhcGVOYW1lIjoiVGV4dEJveCAzODMwMyIsIkRhdGVTaGFwZU5hbWUiOiJUZXh0Qm94IDM4MzA2IiwiTWFya2VyU2hhcGVOYW1lIjoiQ2hldnJvbiAzODI5OSIsIkNvbm5lY3RvclNoYXBlTmFtZSI6IlN0cmFpZ2h0IENvbm5lY3RvciAzODMwOCJ9LHsiTWlsZXN0b25lSWQiOiJkYmI1MGY1Ni0zM2JmLTQ0M2YtOTI0YS05YjJhNmMxOTRiZjkiLCJUaXRsZVNoYXBlTmFtZSI6IlRleHRCb3ggMzgzMTQiLCJEYXRlU2hhcGVOYW1lIjoiVGV4dEJveCAzODMxNiIsIk1hcmtlclNoYXBlTmFtZSI6IkZsb3djaGFydDogTWFudWFsIE9wZXJhdGlvbiAzODMxMSIsIkNvbm5lY3RvclNoYXBlTmFtZSI6IlN0cmFpZ2h0IENvbm5lY3RvciAzODMxOSJ9LHsiTWlsZXN0b25lSWQiOiJjNWYwYjBhYS1kZmRjLTQ4OGQtODhlOC0xMWExMTE2YWMxYzciLCJUaXRsZVNoYXBlTmFtZSI6IlRleHRCb3ggMzgzMjQiLCJEYXRlU2hhcGVOYW1lIjoiVGV4dEJveCAzODMyNyIsIk1hcmtlclNoYXBlTmFtZSI6IkNoZXZyb24gMzgzMjIiLCJDb25uZWN0b3JTaGFwZU5hbWUiOiJTdHJhaWdodCBDb25uZWN0b3IgMzgzMzAifSx7Ik1pbGVzdG9uZUlkIjoiNjNkYTYxMjMtZmI0My00MTlhLWE4NWUtYjgzZGYwYzk3OWY2IiwiVGl0bGVTaGFwZU5hbWUiOiJUZXh0Qm94IDM4MzM0IiwiRGF0ZVNoYXBlTmFtZSI6IlRleHRCb3ggMzgzMzciLCJNYXJrZXJTaGFwZU5hbWUiOiJDaGV2cm9uIDM4MzMyIiwiQ29ubmVjdG9yU2hhcGVOYW1lIjpudWxsfSx7Ik1pbGVzdG9uZUlkIjoiZjAzZGU0OWUtOThkMy00YjE1LTg4MWMtZWJjMjllZDNlYWY5IiwiVGl0bGVTaGFwZU5hbWUiOiJUZXh0Qm94IDM4MzQyIiwiRGF0ZVNoYXBlTmFtZSI6IlRleHRCb3ggMzgzNDUiLCJNYXJrZXJTaGFwZU5hbWUiOiJGbG93Y2hhcnQ6IE1hbnVhbCBPcGVyYXRpb24gMzgzNDAiLCJDb25uZWN0b3JTaGFwZU5hbWUiOiJTdHJhaWdodCBDb25uZWN0b3IgMzgzNDcifSx7Ik1pbGVzdG9uZUlkIjoiZTE5OTc4MzAtZTkxNi00ZjE4LTk3YmEtMjc5NGFkZjUyMGY1IiwiVGl0bGVTaGFwZU5hbWUiOiJUZXh0Qm94IDM4MzUzIiwiRGF0ZVNoYXBlTmFtZSI6IlRleHRCb3ggMzgzNTYiLCJNYXJrZXJTaGFwZU5hbWUiOiJDaGV2cm9uIDM4MzUwIiwiQ29ubmVjdG9yU2hhcGVOYW1lIjoiU3RyYWlnaHQgQ29ubmVjdG9yIDM4MzU4In1dLCJUYXNrcyI6W3siVGFza0lkIjoiZjNjNzcwZDgtYTZhMi00MjM4LWE1N2ItMzczZWY5OTg0NTUwIiwiVGl0bGVTaGFwZU5hbWUiOiJUZXh0Qm94IDM4MzY2IiwiRHVyYXRpb25UZXh0U2hhcGVOYW1lIjoiVGV4dEJveCAzODM3NiIsIlNlZ21lbnRTaGFwZU5hbWUiOiJSb3VuZGVkIFJlY3RhbmdsZSAzODM2MiIsIlZlcnRpY2FsTGVmdENvbm5lY3RvclNoYXBlTmFtZSI6IlN0cmFpZ2h0IENvbm5lY3RvciAzODM4MyIsIlZlcnRpY2FsUmlnaHRDb25uZWN0b3JTaGFwZU5hbWUiOiJTdHJhaWdodCBDb25uZWN0b3IgMzgzODYiLCJIb3Jpem9udGFsQ29ubmVjdG9yU2hhcGVOYW1lIjoiU3RyYWlnaHQgQ29ubmVjdG9yIDM4MzgxIiwiTGVmdERhdGVTaGFwZU5hbWUiOiJUZXh0Qm94IDM4MzcyIiwiUmlnaHREYXRlU2hhcGVOYW1lIjoiVGV4dEJveCAzODM3MCIsIk91dHNpZGVQZXJjZW50YWdlU2hhcGVOYW1lIjpudWxsLCJJbnNpZGVQZXJjZW50YWdlU2hhcGVOYW1lIjpudWxsfSx7IlRhc2tJZCI6ImMzZDY4NWQ1LWFlODUtNGZiMS04NTkyLTVlNTI3ZTUzNGYyOCIsIlRpdGxlU2hhcGVOYW1lIjoiVGV4dEJveCAzODM5MyIsIkR1cmF0aW9uVGV4dFNoYXBlTmFtZSI6IlRleHRCb3ggMzg0MDQiLCJTZWdtZW50U2hhcGVOYW1lIjoiUm91bmRlZCBSZWN0YW5nbGUgMzgzODkiLCJWZXJ0aWNhbExlZnRDb25uZWN0b3JTaGFwZU5hbWUiOiJTdHJhaWdodCBDb25uZWN0b3IgMzg0MTAiLCJWZXJ0aWNhbFJpZ2h0Q29ubmVjdG9yU2hhcGVOYW1lIjoiU3RyYWlnaHQgQ29ubmVjdG9yIDM4NDEzIiwiSG9yaXpvbnRhbENvbm5lY3RvclNoYXBlTmFtZSI6IlN0cmFpZ2h0IENvbm5lY3RvciAzODQwNyIsIkxlZnREYXRlU2hhcGVOYW1lIjoiVGV4dEJveCAzODQwMCIsIlJpZ2h0RGF0ZVNoYXBlTmFtZSI6IlRleHRCb3ggMzgzOTciLCJPdXRzaWRlUGVyY2VudGFnZVNoYXBlTmFtZSI6bnVsbCwiSW5zaWRlUGVyY2VudGFnZVNoYXBlTmFtZSI6bnVsbH0seyJUYXNrSWQiOiJhNTIxNzgzYy1mMzA4LTQzMTMtYWY3Ni0wY2Q5YzI5MjNlM2MiLCJUaXRsZVNoYXBlTmFtZSI6IlRleHRCb3ggMzg0MjEiLCJEdXJhdGlvblRleHRTaGFwZU5hbWUiOiJUZXh0Qm94IDM4NDMxIiwiU2VnbWVudFNoYXBlTmFtZSI6IlJvdW5kZWQgUmVjdGFuZ2xlIDM4NDE3IiwiVmVydGljYWxMZWZ0Q29ubmVjdG9yU2hhcGVOYW1lIjoiU3RyYWlnaHQgQ29ubmVjdG9yIDM4NDM4IiwiVmVydGljYWxSaWdodENvbm5lY3RvclNoYXBlTmFtZSI6IlN0cmFpZ2h0IENvbm5lY3RvciAzODQ0MCIsIkhvcml6b250YWxDb25uZWN0b3JTaGFwZU5hbWUiOiJTdHJhaWdodCBDb25uZWN0b3IgMzg0MzUiLCJMZWZ0RGF0ZVNoYXBlTmFtZSI6IlRleHRCb3ggMzg0MjciLCJSaWdodERhdGVTaGFwZU5hbWUiOiJUZXh0Qm94IDM4NDI1IiwiT3V0c2lkZVBlcmNlbnRhZ2VTaGFwZU5hbWUiOm51bGwsIkluc2lkZVBlcmNlbnRhZ2VTaGFwZU5hbWUiOm51bGx9LHsiVGFza0lkIjoiOWNkZTZkNWQtMzA3Yi00ZGY3LWIxNDYtNDI0OGNhYjdmZWY2IiwiVGl0bGVTaGFwZU5hbWUiOiJUZXh0Qm94IDM4NDQ5IiwiRHVyYXRpb25UZXh0U2hhcGVOYW1lIjoiVGV4dEJveCAzODQ1OSIsIlNlZ21lbnRTaGFwZU5hbWUiOiJSb3VuZGVkIFJlY3RhbmdsZSAzODQ0NSIsIlZlcnRpY2FsTGVmdENvbm5lY3RvclNoYXBlTmFtZSI6IlN0cmFpZ2h0IENvbm5lY3RvciAzODQ2NiIsIlZlcnRpY2FsUmlnaHRDb25uZWN0b3JTaGFwZU5hbWUiOiJTdHJhaWdodCBDb25uZWN0b3IgMzg0NjgiLCJIb3Jpem9udGFsQ29ubmVjdG9yU2hhcGVOYW1lIjoiU3RyYWlnaHQgQ29ubmVjdG9yIDM4NDYzIiwiTGVmdERhdGVTaGFwZU5hbWUiOiJUZXh0Qm94IDM4NDU1IiwiUmlnaHREYXRlU2hhcGVOYW1lIjoiVGV4dEJveCAzODQ1MiIsIk91dHNpZGVQZXJjZW50YWdlU2hhcGVOYW1lIjpudWxsLCJJbnNpZGVQZXJjZW50YWdlU2hhcGVOYW1lIjpudWxsfSx7IlRhc2tJZCI6IjZhNmU3MTQ5LTY2MWMtNGQ5OC1hZTIyLWI5YTg0YTIwYzBjZCIsIlRpdGxlU2hhcGVOYW1lIjoiVGV4dEJveCAzODQ3NiIsIkR1cmF0aW9uVGV4dFNoYXBlTmFtZSI6IlRleHRCb3ggMzg0ODciLCJTZWdtZW50U2hhcGVOYW1lIjoiUm91bmRlZCBSZWN0YW5nbGUgMzg0NzIiLCJWZXJ0aWNhbExlZnRDb25uZWN0b3JTaGFwZU5hbWUiOiJTdHJhaWdodCBDb25uZWN0b3IgMzg0OTMiLCJWZXJ0aWNhbFJpZ2h0Q29ubmVjdG9yU2hhcGVOYW1lIjoiU3RyYWlnaHQgQ29ubmVjdG9yIDM4NDk1IiwiSG9yaXpvbnRhbENvbm5lY3RvclNoYXBlTmFtZSI6IlN0cmFpZ2h0IENvbm5lY3RvciAzODQ5MCIsIkxlZnREYXRlU2hhcGVOYW1lIjoiVGV4dEJveCAzODQ4MyIsIlJpZ2h0RGF0ZVNoYXBlTmFtZSI6IlRleHRCb3ggMzg0ODAiLCJPdXRzaWRlUGVyY2VudGFnZVNoYXBlTmFtZSI6bnVsbCwiSW5zaWRlUGVyY2VudGFnZVNoYXBlTmFtZSI6bnVsbH0seyJUYXNrSWQiOiJkYjUyODIwZS04OTYyLTRjMmYtYTQwNi04NzZkYWI5YjM2NjAiLCJUaXRsZVNoYXBlTmFtZSI6IlRleHRCb3ggMzg1MDMiLCJEdXJhdGlvblRleHRTaGFwZU5hbWUiOiJUZXh0Qm94IDM4NTE0IiwiU2VnbWVudFNoYXBlTmFtZSI6IlJvdW5kZWQgUmVjdGFuZ2xlIDM4NTAwIiwiVmVydGljYWxMZWZ0Q29ubmVjdG9yU2hhcGVOYW1lIjoiU3RyYWlnaHQgQ29ubmVjdG9yIDM4NTIxIiwiVmVydGljYWxSaWdodENvbm5lY3RvclNoYXBlTmFtZSI6IlN0cmFpZ2h0IENvbm5lY3RvciAzODUyMyIsIkhvcml6b250YWxDb25uZWN0b3JTaGFwZU5hbWUiOiJTdHJhaWdodCBDb25uZWN0b3IgMzg1MTgiLCJMZWZ0RGF0ZVNoYXBlTmFtZSI6IlRleHRCb3ggMzg1MTAiLCJSaWdodERhdGVTaGFwZU5hbWUiOiJUZXh0Qm94IDM4NTA3IiwiT3V0c2lkZVBlcmNlbnRhZ2VTaGFwZU5hbWUiOm51bGwsIkluc2lkZVBlcmNlbnRhZ2VTaGFwZU5hbWUiOm51bGx9LHsiVGFza0lkIjoiMzZmNzgxOGQtMDFhMS00MGI1LTg3MTYtYTBlZWE0OTcyNDI1IiwiVGl0bGVTaGFwZU5hbWUiOiJUZXh0Qm94IDM4NTMxIiwiRHVyYXRpb25UZXh0U2hhcGVOYW1lIjoiVGV4dEJveCAzODU0MSIsIlNlZ21lbnRTaGFwZU5hbWUiOiJSb3VuZGVkIFJlY3RhbmdsZSAzODUyNyIsIlZlcnRpY2FsTGVmdENvbm5lY3RvclNoYXBlTmFtZSI6IlN0cmFpZ2h0IENvbm5lY3RvciAzODU0OCIsIlZlcnRpY2FsUmlnaHRDb25uZWN0b3JTaGFwZU5hbWUiOiJTdHJhaWdodCBDb25uZWN0b3IgMzg1NTEiLCJIb3Jpem9udGFsQ29ubmVjdG9yU2hhcGVOYW1lIjoiU3RyYWlnaHQgQ29ubmVjdG9yIDM4NTQ1IiwiTGVmdERhdGVTaGFwZU5hbWUiOiJUZXh0Qm94IDM4NTM3IiwiUmlnaHREYXRlU2hhcGVOYW1lIjoiVGV4dEJveCAzODUzNSIsIk91dHNpZGVQZXJjZW50YWdlU2hhcGVOYW1lIjpudWxsLCJJbnNpZGVQZXJjZW50YWdlU2hhcGVOYW1lIjpudWxsfSx7IlRhc2tJZCI6ImRiYzUwMzE4LTc0M2YtNGQ2Yi1hOTk1LWZiM2U3YjQxODdkNyIsIlRpdGxlU2hhcGVOYW1lIjoiVGV4dEJveCAzODU1OCIsIkR1cmF0aW9uVGV4dFNoYXBlTmFtZSI6IlRleHRCb3ggMzg1NjkiLCJTZWdtZW50U2hhcGVOYW1lIjoiUm91bmRlZCBSZWN0YW5nbGUgMzg1NTQiLCJWZXJ0aWNhbExlZnRDb25uZWN0b3JTaGFwZU5hbWUiOiJTdHJhaWdodCBDb25uZWN0b3IgMzg1NzUiLCJWZXJ0aWNhbFJpZ2h0Q29ubmVjdG9yU2hhcGVOYW1lIjoiU3RyYWlnaHQgQ29ubmVjdG9yIDM4NTc4IiwiSG9yaXpvbnRhbENvbm5lY3RvclNoYXBlTmFtZSI6IlN0cmFpZ2h0IENvbm5lY3RvciAzODU3MyIsIkxlZnREYXRlU2hhcGVOYW1lIjoiVGV4dEJveCAzODU2NSIsIlJpZ2h0RGF0ZVNoYXBlTmFtZSI6IlRleHRCb3ggMzg1NjIiLCJPdXRzaWRlUGVyY2VudGFnZVNoYXBlTmFtZSI6bnVsbCwiSW5zaWRlUGVyY2VudGFnZVNoYXBlTmFtZSI6bnVsbH0seyJUYXNrSWQiOiI1MGRmNGFkZC1hMjlhLTQ5NGMtYmUwZS05ZTg0Njg2NTk4NmIiLCJUaXRsZVNoYXBlTmFtZSI6IlRleHRCb3ggMzg1ODYiLCJEdXJhdGlvblRleHRTaGFwZU5hbWUiOiJUZXh0Qm94IDM4NTk2IiwiU2VnbWVudFNoYXBlTmFtZSI6IlJvdW5kZWQgUmVjdGFuZ2xlIDM4NTgyIiwiVmVydGljYWxMZWZ0Q29ubmVjdG9yU2hhcGVOYW1lIjoiU3RyYWlnaHQgQ29ubmVjdG9yIDM4NjAzIiwiVmVydGljYWxSaWdodENvbm5lY3RvclNoYXBlTmFtZSI6IlN0cmFpZ2h0IENvbm5lY3RvciAzODYwNSIsIkhvcml6b250YWxDb25uZWN0b3JTaGFwZU5hbWUiOiJTdHJhaWdodCBDb25uZWN0b3IgMzg2MDAiLCJMZWZ0RGF0ZVNoYXBlTmFtZSI6IlRleHRCb3ggMzg1OTIiLCJSaWdodERhdGVTaGFwZU5hbWUiOiJUZXh0Qm94IDM4NTkwIiwiT3V0c2lkZVBlcmNlbnRhZ2VTaGFwZU5hbWUiOm51bGwsIkluc2lkZVBlcmNlbnRhZ2VTaGFwZU5hbWUiOm51bGx9LHsiVGFza0lkIjoiZWI5NTQyNzUtYzViNS00YmU1LTkwYmUtZTNkMTdiMGNlOGEzIiwiVGl0bGVTaGFwZU5hbWUiOiJUZXh0Qm94IDM4NjEzIiwiRHVyYXRpb25UZXh0U2hhcGVOYW1lIjoiVGV4dEJveCAzODYyNCIsIlNlZ21lbnRTaGFwZU5hbWUiOiJSb3VuZGVkIFJlY3RhbmdsZSAzODYwOSIsIlZlcnRpY2FsTGVmdENvbm5lY3RvclNoYXBlTmFtZSI6IlN0cmFpZ2h0IENvbm5lY3RvciAzODYzMCIsIlZlcnRpY2FsUmlnaHRDb25uZWN0b3JTaGFwZU5hbWUiOiJTdHJhaWdodCBDb25uZWN0b3IgMzg2MzMiLCJIb3Jpem9udGFsQ29ubmVjdG9yU2hhcGVOYW1lIjoiU3RyYWlnaHQgQ29ubmVjdG9yIDM4NjI4IiwiTGVmdERhdGVTaGFwZU5hbWUiOiJUZXh0Qm94IDM4NjIwIiwiUmlnaHREYXRlU2hhcGVOYW1lIjoiVGV4dEJveCAzODYxNyIsIk91dHNpZGVQZXJjZW50YWdlU2hhcGVOYW1lIjpudWxsLCJJbnNpZGVQZXJjZW50YWdlU2hhcGVOYW1lIjpudWxsfSx7IlRhc2tJZCI6IjdlZTkzNjdkLTgzZTctNDMxMi1hZGFhLTZkNGJjZjIyMmY3NSIsIlRpdGxlU2hhcGVOYW1lIjoiVGV4dEJveCAzODY0MSIsIkR1cmF0aW9uVGV4dFNoYXBlTmFtZSI6IlRleHRCb3ggMzg2NTIiLCJTZWdtZW50U2hhcGVOYW1lIjoiUm91bmRlZCBSZWN0YW5nbGUgMzg2MzciLCJWZXJ0aWNhbExlZnRDb25uZWN0b3JTaGFwZU5hbWUiOiJTdHJhaWdodCBDb25uZWN0b3IgMzg2NTgiLCJWZXJ0aWNhbFJpZ2h0Q29ubmVjdG9yU2hhcGVOYW1lIjoiU3RyYWlnaHQgQ29ubmVjdG9yIDM4NjYwIiwiSG9yaXpvbnRhbENvbm5lY3RvclNoYXBlTmFtZSI6IlN0cmFpZ2h0IENvbm5lY3RvciAzODY1NSIsIkxlZnREYXRlU2hhcGVOYW1lIjoiVGV4dEJveCAzODY0NyIsIlJpZ2h0RGF0ZVNoYXBlTmFtZSI6IlRleHRCb3ggMzg2NDQiLCJPdXRzaWRlUGVyY2VudGFnZVNoYXBlTmFtZSI6bnVsbCwiSW5zaWRlUGVyY2VudGFnZVNoYXBlTmFtZSI6bnVsbH0seyJUYXNrSWQiOiJlNWI2MmQ2OC00ZGFmLTRjODItODE3ZS02NGIxZWU3Mzk0YWMiLCJUaXRsZVNoYXBlTmFtZSI6IlRleHRCb3ggMzg2NjgiLCJEdXJhdGlvblRleHRTaGFwZU5hbWUiOiJUZXh0Qm94IDM4Njc4IiwiU2VnbWVudFNoYXBlTmFtZSI6IlJvdW5kZWQgUmVjdGFuZ2xlIDM4NjY0IiwiVmVydGljYWxMZWZ0Q29ubmVjdG9yU2hhcGVOYW1lIjoiU3RyYWlnaHQgQ29ubmVjdG9yIDM4Njg2IiwiVmVydGljYWxSaWdodENvbm5lY3RvclNoYXBlTmFtZSI6IlN0cmFpZ2h0IENvbm5lY3RvciAzODY4OCIsIkhvcml6b250YWxDb25uZWN0b3JTaGFwZU5hbWUiOiJTdHJhaWdodCBDb25uZWN0b3IgMzg2ODMiLCJMZWZ0RGF0ZVNoYXBlTmFtZSI6IlRleHRCb3ggMzg2NzUiLCJSaWdodERhdGVTaGFwZU5hbWUiOiJUZXh0Qm94IDM4NjcyIiwiT3V0c2lkZVBlcmNlbnRhZ2VTaGFwZU5hbWUiOm51bGwsIkluc2lkZVBlcmNlbnRhZ2VTaGFwZU5hbWUiOm51bGx9LHsiVGFza0lkIjoiZDk0NTcyOGUtOTZlOC00NDUzLTliM2MtMDE4YzJiZThhODY5IiwiVGl0bGVTaGFwZU5hbWUiOiJUZXh0Qm94IDM4Njk2IiwiRHVyYXRpb25UZXh0U2hhcGVOYW1lIjoiVGV4dEJveCAzODcwNiIsIlNlZ21lbnRTaGFwZU5hbWUiOiJSb3VuZGVkIFJlY3RhbmdsZSAzODY5MiIsIlZlcnRpY2FsTGVmdENvbm5lY3RvclNoYXBlTmFtZSI6IlN0cmFpZ2h0IENvbm5lY3RvciAzODcxMiIsIlZlcnRpY2FsUmlnaHRDb25uZWN0b3JTaGFwZU5hbWUiOiJTdHJhaWdodCBDb25uZWN0b3IgMzg3MTUiLCJIb3Jpem9udGFsQ29ubmVjdG9yU2hhcGVOYW1lIjoiU3RyYWlnaHQgQ29ubmVjdG9yIDM4NzEwIiwiTGVmdERhdGVTaGFwZU5hbWUiOiJUZXh0Qm94IDM4NzAyIiwiUmlnaHREYXRlU2hhcGVOYW1lIjoiVGV4dEJveCAzODY5OSIsIk91dHNpZGVQZXJjZW50YWdlU2hhcGVOYW1lIjpudWxsLCJJbnNpZGVQZXJjZW50YWdlU2hhcGVOYW1lIjpudWxsfSx7IlRhc2tJZCI6ImM5YjhiNDljLTQzODMtNDY4My1iNGFhLTE0YjY1NjYyOTY4NiIsIlRpdGxlU2hhcGVOYW1lIjoiVGV4dEJveCAzODcyMyIsIkR1cmF0aW9uVGV4dFNoYXBlTmFtZSI6IlRleHRCb3ggMzg3MzMiLCJTZWdtZW50U2hhcGVOYW1lIjoiUm91bmRlZCBSZWN0YW5nbGUgMzg3MjAiLCJWZXJ0aWNhbExlZnRDb25uZWN0b3JTaGFwZU5hbWUiOiJTdHJhaWdodCBDb25uZWN0b3IgMzg3NDAiLCJWZXJ0aWNhbFJpZ2h0Q29ubmVjdG9yU2hhcGVOYW1lIjoiU3RyYWlnaHQgQ29ubmVjdG9yIDM4NzQzIiwiSG9yaXpvbnRhbENvbm5lY3RvclNoYXBlTmFtZSI6IlN0cmFpZ2h0IENvbm5lY3RvciAzODczOCIsIkxlZnREYXRlU2hhcGVOYW1lIjoiVGV4dEJveCAzODczMCIsIlJpZ2h0RGF0ZVNoYXBlTmFtZSI6IlRleHRCb3ggMzg3MjciLCJPdXRzaWRlUGVyY2VudGFnZVNoYXBlTmFtZSI6bnVsbCwiSW5zaWRlUGVyY2VudGFnZVNoYXBlTmFtZSI6bnVsbH0seyJUYXNrSWQiOiJlMGJmNTY5Yy02Nzg1LTQyMjUtYTM3ZC0zZWY4NjM5ZDEyZTEiLCJUaXRsZVNoYXBlTmFtZSI6IlRleHRCb3ggMzg3NTIiLCJEdXJhdGlvblRleHRTaGFwZU5hbWUiOiJUZXh0Qm94IDM4NzY1IiwiU2VnbWVudFNoYXBlTmFtZSI6IlJvdW5kZWQgUmVjdGFuZ2xlIDM4NzQ3IiwiVmVydGljYWxMZWZ0Q29ubmVjdG9yU2hhcGVOYW1lIjoiU3RyYWlnaHQgQ29ubmVjdG9yIDM4NzczIiwiVmVydGljYWxSaWdodENvbm5lY3RvclNoYXBlTmFtZSI6IlN0cmFpZ2h0IENvbm5lY3RvciAzODc3NiIsIkhvcml6b250YWxDb25uZWN0b3JTaGFwZU5hbWUiOiJTdHJhaWdodCBDb25uZWN0b3IgMzg3NzAiLCJMZWZ0RGF0ZVNoYXBlTmFtZSI6IlRleHRCb3ggMzg3NjAiLCJSaWdodERhdGVTaGFwZU5hbWUiOiJUZXh0Qm94IDM4NzU3IiwiT3V0c2lkZVBlcmNlbnRhZ2VTaGFwZU5hbWUiOm51bGwsIkluc2lkZVBlcmNlbnRhZ2VTaGFwZU5hbWUiOm51bGx9LHsiVGFza0lkIjoiYzBjMDU1YWQtMTcyNi00ZmRjLWJmMjEtM2NmNzYyYjQ0NzBkIiwiVGl0bGVTaGFwZU5hbWUiOiJUZXh0Qm94IDM4Nzg2IiwiRHVyYXRpb25UZXh0U2hhcGVOYW1lIjoiVGV4dEJveCAzODc5OSIsIlNlZ21lbnRTaGFwZU5hbWUiOiJSb3VuZGVkIFJlY3RhbmdsZSAzODc4MSIsIlZlcnRpY2FsTGVmdENvbm5lY3RvclNoYXBlTmFtZSI6IlN0cmFpZ2h0IENvbm5lY3RvciAzODgwNyIsIlZlcnRpY2FsUmlnaHRDb25uZWN0b3JTaGFwZU5hbWUiOiJTdHJhaWdodCBDb25uZWN0b3IgMzg4MTAiLCJIb3Jpem9udGFsQ29ubmVjdG9yU2hhcGVOYW1lIjoiU3RyYWlnaHQgQ29ubmVjdG9yIDM4ODA0IiwiTGVmdERhdGVTaGFwZU5hbWUiOiJUZXh0Qm94IDM4Nzk0IiwiUmlnaHREYXRlU2hhcGVOYW1lIjoiVGV4dEJveCAzODc5MSIsIk91dHNpZGVQZXJjZW50YWdlU2hhcGVOYW1lIjpudWxsLCJJbnNpZGVQZXJjZW50YWdlU2hhcGVOYW1lIjpudWxsfSx7IlRhc2tJZCI6ImFmZjRmODU1LTU0ZWMtNGI0Ny1hYTRmLTk1ZjdiZjgyZGE0NSIsIlRpdGxlU2hhcGVOYW1lIjoiVGV4dEJveCAzODgyMCIsIkR1cmF0aW9uVGV4dFNoYXBlTmFtZSI6IlRleHRCb3ggMzg4MzMiLCJTZWdtZW50U2hhcGVOYW1lIjoiUm91bmRlZCBSZWN0YW5nbGUgMzg4MTUiLCJWZXJ0aWNhbExlZnRDb25uZWN0b3JTaGFwZU5hbWUiOiJTdHJhaWdodCBDb25uZWN0b3IgMzg4NDEiLCJWZXJ0aWNhbFJpZ2h0Q29ubmVjdG9yU2hhcGVOYW1lIjoiU3RyYWlnaHQgQ29ubmVjdG9yIDM4ODQ0IiwiSG9yaXpvbnRhbENvbm5lY3RvclNoYXBlTmFtZSI6IlN0cmFpZ2h0IENvbm5lY3RvciAzODgzOCIsIkxlZnREYXRlU2hhcGVOYW1lIjoiVGV4dEJveCAzODgyOCIsIlJpZ2h0RGF0ZVNoYXBlTmFtZSI6IlRleHRCb3ggMzg4MjUiLCJPdXRzaWRlUGVyY2VudGFnZVNoYXBlTmFtZSI6bnVsbCwiSW5zaWRlUGVyY2VudGFnZVNoYXBlTmFtZSI6bnVsbH0seyJUYXNrSWQiOiJhYzQ0Y2QwZS1iMjJjLTQ3MzAtODE4Mi1hMzg4NjExYjljMDEiLCJUaXRsZVNoYXBlTmFtZSI6IlRleHRCb3ggMzg4NTQiLCJEdXJhdGlvblRleHRTaGFwZU5hbWUiOiJUZXh0Qm94IDM4ODY3IiwiU2VnbWVudFNoYXBlTmFtZSI6IlJvdW5kZWQgUmVjdGFuZ2xlIDM4ODQ5IiwiVmVydGljYWxMZWZ0Q29ubmVjdG9yU2hhcGVOYW1lIjoiU3RyYWlnaHQgQ29ubmVjdG9yIDM4ODc1IiwiVmVydGljYWxSaWdodENvbm5lY3RvclNoYXBlTmFtZSI6IlN0cmFpZ2h0IENvbm5lY3RvciAzODg3OCIsIkhvcml6b250YWxDb25uZWN0b3JTaGFwZU5hbWUiOiJTdHJhaWdodCBDb25uZWN0b3IgMzg4NzEiLCJMZWZ0RGF0ZVNoYXBlTmFtZSI6IlRleHRCb3ggMzg4NjIiLCJSaWdodERhdGVTaGFwZU5hbWUiOiJUZXh0Qm94IDM4ODU5IiwiT3V0c2lkZVBlcmNlbnRhZ2VTaGFwZU5hbWUiOm51bGwsIkluc2lkZVBlcmNlbnRhZ2VTaGFwZU5hbWUiOm51bGx9XSwiVGltZWJhbmQiOnsiRWxhcHNlZFRpbWVTaGFwZU5hbWUiOiJSb3VuZGVkIFJlY3RhbmdsZSAzODI5MyIsIlRvZGF5TWFya2VyU2hhcGVOYW1lIjoiSXNvc2NlbGVzIFRyaWFuZ2xlIDM4Mjk1IiwiVG9kYXlNYXJrZXJUZXh0U2hhcGVOYW1lIjoiVGV4dEJveCAzODI5NyIsIlJpZ2h0RW5kQ2Fwc1NoYXBlTmFtZSI6bnVsbCwiTGVmdEVuZENhcHNTaGFwZU5hbWUiOm51bGwsIkVsYXBzZWRSZWN0YW5nbGVTaGFwZU5hbWUiOm51bGwsIlNlZ21lbnRTaGFwZXNOYW1lcyI6WyJSb3VuZGVkIFJlY3RhbmdsZSA4IiwiVGV4dEJveCAxMCIsIlRleHRCb3ggMTIiLCJUZXh0Qm94IDE3IiwiVGV4dEJveCAyMSIsIlRleHRCb3ggMjUiLCJUZXh0Qm94IDMwIiwiVGV4dEJveCAzODI3MyIsIlRleHRCb3ggMzgyNzciLCJUZXh0Qm94IDM4Mjc5IiwiVGV4dEJveCAzODI4MyIsIlRleHRCb3ggMzgyODciLCJUZXh0Qm94IDM4MjkxIl19fSwiRWRpdGlvbiI6MSwiSXNQbHVzRWRpdGlvbiI6dHJ1ZSwiQ3VsdHVyZUluZm9OYW1lIjoiZW4tVVMiLCJWZXJzaW9uIjoiMi4zLjAuMCIsIk9yaWdpbmFsQXNzZW1ibHlWZXJzaW9uIjoiMS4wMC4wMC4wMCIsIk1pbGVzdG9uZXMiOlt7IkRhdGVGb3JtYXQiOnsiRm9ybWF0U3RyaW5nIjoiTS9kL3l5eXkiLCJTZXBhcmF0b3IiOiIvIiwiVXNlSW50ZXJuYXRpb25hbERhdGVGb3JtYXQiOmZhbHNlfSwiSW50ZXJuYWxJZCI6ImUxOTk3ODMwLWU5MTYtNGYxOC05N2JhLTI3OTRhZGY1MjBmNSIsIlRpdGxlTGVmdCI6MTAzLjYyMzU0MywiVGl0bGVUb3AiOjEyNS42MTcxNjUsIlRpdGxlSGVpZ2h0IjoxMC42NjMxNSwiVGl0bGVUb3BJc0N1c3RvbSI6dHJ1ZSwiVGl0bGVXaWR0aCI6NDkuMjUsIkNvbG9yIjoiMjQ0LCAxNTcsIDAiLCJVdGNEYXRlIjoiMjAxNC0wNi0xOFQwMDowMDowMFoiLCJOb3RlIjpudWxsLCJUaXRsZSI6IiBLaWNrLU9mZiIsIlN0eWxlIjo3LCJCZWxvd1RpbWViYW5kIjp0cnVlLCJDdXN0b21TZXR0aW5ncyI6eyJJc0RhdGVWaXNpYmxlIjp0cnVlLCJUaXRsZUZvbnRTZXR0aW5ncyI6eyJGb250U2l6ZSI6MTEsIkZvbnROYW1lIjoiQ2VudHVyeSBHb3RoaWMiLCJJc0JvbGQiOnRydWUsIklzSXRhbGljIjpmYWxzZSwiSXNVbmRlcmxpbmVkIjpmYWxzZSwiRm9yZWdyb3VuZENvbG9yIjoiODAsIDgwLCA3MC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yNDQsIDE1NywgMCIsIklzVmlzaWJsZSI6ZmFsc2UsIkxpbmVXZWlnaHQiOjAuMX19LCJIaWRlRGF0ZSI6ZmFsc2UsIlNoYXBlVG9wIjo5Ny41LCJRdWlja1NoYXBlU2l6ZSI6MCwiSXNWaXNpYmxlIjp0cnVlfSx7IkRhdGVGb3JtYXQiOnsiRm9ybWF0U3RyaW5nIjoiTS9kL3l5eXkiLCJTZXBhcmF0b3IiOiIvIiwiVXNlSW50ZXJuYXRpb25hbERhdGVGb3JtYXQiOmZhbHNlfSwiSW50ZXJuYWxJZCI6ImYwM2RlNDllLTk4ZDMtNGIxNS04ODFjLWViYzI5ZWQzZWFmOSIsIlRpdGxlTGVmdCI6MjY2Ljg1MjIsIlRpdGxlVG9wIjo0NC42MTg2NiwiVGl0bGVIZWlnaHQiOjEwLjY2MzE1LCJUaXRsZVRvcElzQ3VzdG9tIjp0cnVlLCJUaXRsZVdpZHRoIjo2MC43NSwiQ29sb3IiOiIyMzIsIDc2LCAzNCIsIlV0Y0RhdGUiOiIyMDE0LTA5LTI0VDAwOjAwOjAwWiIsIk5vdGUiOm51bGwsIlRpdGxlIjoiVmFsaWRhdGlvbiAiLCJTdHlsZSI6NS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jYzZGE2MTIzLWZiNDMtNDE5YS1hODVlLWI4M2RmMGM5NzlmNiIsIlRpdGxlTGVmdCI6NDE4LjExMzg2MSwiVGl0bGVUb3AiOjM0LjA1NjYxMzksIlRpdGxlSGVpZ2h0IjoyMS4zMjYyMiwiVGl0bGVUb3BJc0N1c3RvbSI6ZmFsc2UsIlRpdGxlV2lkdGgiOjU4LjI1LCJDb2xvciI6IjIzMiwgNzYsIDM0IiwiVXRjRGF0ZSI6IjIwMTQtMTItMjBUMDA6MDA6MDBaIiwiTm90ZSI6bnVsbCwiVGl0bGUiOiJNaW5pbWFsIFByb3RvdHlwZSAiLCJTdHlsZSI6Ny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mM1ZjBiMGFhLWRmZGMtNDg4ZC04OGU4LTExYTExMTZhYzFjNyIsIlRpdGxlTGVmdCI6NTkzLjMwMjA2MywiVGl0bGVUb3AiOjM0LjA1NjYxMzksIlRpdGxlSGVpZ2h0IjoyMS4zMjYyMiwiVGl0bGVUb3BJc0N1c3RvbSI6dHJ1ZSwiVGl0bGVXaWR0aCI6NTkuNjI1MDQsIkNvbG9yIjoiMjMyLCA3NiwgMzQiLCJVdGNEYXRlIjoiMjAxNS0wNC0wMVQwMDowMDowMFoiLCJOb3RlIjpudWxsLCJUaXRsZSI6IkludGVncmF0ZWQgUHJvdG90eXBlIiwiU3R5bGUiOjcsIkJlbG93VGltZWJhbmQiOmZhbHNlLCJDdXN0b21TZXR0aW5ncyI6eyJJc0RhdGVWaXNpYmxlIjp0cnVlLCJUaXRsZUZvbnRTZXR0aW5ncyI6eyJGb250U2l6ZSI6MTEsIkZvbnROYW1lIjoiQ2VudHVyeSBHb3RoaWMiLCJJc0JvbGQiOmZhbHNlLCJJc0l0YWxpYyI6ZmFsc2UsIklzVW5kZXJsaW5lZCI6ZmFsc2UsIkZvcmVncm91bmRDb2xvciI6IjI1NSwgMTMyLCAzOSIsIkJhY2tDb2xvciI6bnVsbH0sIkRhdGVGb250U2V0dGluZ3MiOnsiRm9udFNpemUiOjEwLCJGb250TmFtZSI6IkNlbnR1cnkgR290aGljIiwiSXNCb2xkIjpmYWxzZSwiSXNJdGFsaWMiOmZhbHNlLCJJc1VuZGVybGluZWQiOmZhbHNlLCJGb3JlZ3JvdW5kQ29sb3IiOiI4MCwgODAsIDcwIiwiQmFja0NvbG9yIjpudWxsfSwiQ29ubmVjdG9yU2V0dGluZ3MiOnsiQ29sb3IiOiIyMzIsIDc2LCAzNCIsIklzVmlzaWJsZSI6ZmFsc2UsIkxpbmVXZWlnaHQiOjAuMX19LCJIaWRlRGF0ZSI6ZmFsc2UsIlNoYXBlVG9wIjo0MjEuNSwiUXVpY2tTaGFwZVNpemUiOjAsIklzVmlzaWJsZSI6dHJ1ZX0seyJEYXRlRm9ybWF0Ijp7IkZvcm1hdFN0cmluZyI6Ik0vZC95eXl5IiwiU2VwYXJhdG9yIjoiLyIsIlVzZUludGVybmF0aW9uYWxEYXRlRm9ybWF0IjpmYWxzZX0sIkludGVybmFsSWQiOiJkYmI1MGY1Ni0zM2JmLTQ0M2YtOTI0YS05YjJhNmMxOTRiZjkiLCJUaXRsZUxlZnQiOjY3OS4wMTU3LCJUaXRsZVRvcCI6MjkuMzkzNDY1LCJUaXRsZUhlaWdodCI6MTAuNjYzMTUsIlRpdGxlVG9wSXNDdXN0b20iOnRydWUsIlRpdGxlV2lkdGgiOjYwLjYyNTA0LCJDb2xvciI6IjE0NiwgMjA4LCA4MCIsIlV0Y0RhdGUiOiIyMDE1LTA1LTIxVDAwOjAwOjAwWiIsIk5vdGUiOm51bGwsIlRpdGxlIjoiSW50ZWdyYXRpb24iLCJTdHlsZSI6NSwiQmVsb3dUaW1lYmFuZCI6ZmFsc2UsIkN1c3RvbVNldHRpbmdzIjp7IklzRGF0ZVZpc2libGUiOnRydWUsIlRpdGxlRm9udFNldHRpbmdzIjp7IkZvbnRTaXplIjoxMSwiRm9udE5hbWUiOiJDZW50dXJ5IEdvdGhpYyIsIklzQm9sZCI6dHJ1ZSwiSXNJdGFsaWMiOnRydWUsIklzVW5kZXJsaW5lZCI6dHJ1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kJsYWNrIiwiSXNWaXNpYmxlIjpmYWxzZSwiTGluZVdlaWdodCI6MC4xfX0sIkhpZGVEYXRlIjpmYWxzZSwiU2hhcGVUb3AiOjcwLjUsIlF1aWNrU2hhcGVTaXplIjowLCJJc1Zpc2libGUiOnRydWV9LHsiRGF0ZUZvcm1hdCI6eyJGb3JtYXRTdHJpbmciOiJNL2QveXl5eSIsIlNlcGFyYXRvciI6Ii8iLCJVc2VJbnRlcm5hdGlvbmFsRGF0ZUZvcm1hdCI6ZmFsc2V9LCJJbnRlcm5hbElkIjoiZDg2ZTE1MmEtMjc5MC00NTg4LWFhNjItOTQ3NzllMWRmYmU5IiwiVGl0bGVMZWZ0Ijo4MDAuODc2NSwiVGl0bGVUb3AiOjEyNS42MTcxNjUsIlRpdGxlSGVpZ2h0IjoxMC42NjMxNSwiVGl0bGVUb3BJc0N1c3RvbSI6dHJ1ZSwiVGl0bGVXaWR0aCI6NjEuNzUsIkNvbG9yIjoiMjQ0LCAxNTcsIDAiLCJVdGNEYXRlIjoiMjAxNS0wNy0zMVQwMDowMDowMFoiLCJOb3RlIjpudWxsLCJUaXRsZSI6IlN1Ym1pc3Npb24iLCJTdHlsZSI6NywiQmVsb3dUaW1lYmFuZCI6dHJ1ZSwiQ3VzdG9tU2V0dGluZ3MiOnsiSXNEYXRlVmlzaWJsZSI6dHJ1ZSwiVGl0bGVGb250U2V0dGluZ3MiOnsiRm9udFNpemUiOjExLCJGb250TmFtZSI6IkNlbnR1cnkgR290aGljIiwiSXNCb2xkIjp0cnVlLCJJc0l0YWxpYyI6ZmFsc2UsIklzVW5kZXJsaW5lZCI6ZmFsc2UsIkZvcmVncm91bmRDb2xvciI6IjgwLCA4MCwgNzAiLCJCYWNrQ29sb3IiOm51bGx9LCJEYXRlRm9udFNldHRpbmdzIjp7IkZvbnRTaXplIjoxMCwiRm9udE5hbWUiOiJDZW50dXJ5IEdvdGhpYyIsIklzQm9sZCI6ZmFsc2UsIklzSXRhbGljIjpmYWxzZSwiSXNVbmRlcmxpbmVkIjpmYWxzZSwiRm9yZWdyb3VuZENvbG9yIjoiMTc4LCAzOCwgMCIsIkJhY2tDb2xvciI6bnVsbH0sIkNvbm5lY3RvclNldHRpbmdzIjp7IkNvbG9yIjoiMjQ0LCAxNTcsIDAiLCJJc1Zpc2libGUiOmZhbHNlLCJMaW5lV2VpZ2h0IjowLjF9fSwiSGlkZURhdGUiOmZhbHNlLCJTaGFwZVRvcCI6OTcuNSwiUXVpY2tTaGFwZVNpemUiOjAsIklzVmlzaWJsZSI6dHJ1ZX1dLCJUaW1lTGluZVR5cGUiOjIsIlRhc2tzIjpbeyJEdXJhdGlvblZhbHVlIjoyNy4wLCJEdXJhdGlvbkZvcm1hdCI6MCwiSW50ZXJuYWxJZCI6ImYzYzc3MGQ4LWE2YTItNDIzOC1hNTdiLTM3M2VmOTk4NDU1MCIsIkluZGV4IjoxLCJDb2xvciI6IjgwLCA4MCwgNzAiLCJVdGNTdGFydERhdGUiOiIyMDE0LTA2LTI1VDAwOjAwOjAwWiIsIk5vdGUiOm51bGwsIlV0Y0VuZERhdGUiOiIyMDE0LTA3LTIxVDAwOjAwOjAwWiIsIlRpdGxlIjoiUmVxdWlyZW1lbnRzIiwiU2hhcGUiOjEsIkN1c3RvbVNldHRpbmdzIjp7IlRpdGxlV2lkdGgiOjY3LjAyMzI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1LjAsIkR1cmF0aW9uRm9ybWF0IjowLCJJbnRlcm5hbElkIjoiYzNkNjg1ZDUtYWU4NS00ZmIxLTg1OTItNWU1MjdlNTM0ZjI4IiwiSW5kZXgiOjIsIkNvbG9yIjoiMTc4LCAzOCwgMCIsIlV0Y1N0YXJ0RGF0ZSI6IjIwMTQtMDctMDVUMDA6MDA6MDBaIiwiTm90ZSI6bnVsbCwiVXRjRW5kRGF0ZSI6IjIwMTQtMDgtMDhUMDA6MDA6MDBaIiwiVGl0bGUiOiJWYWxpZGF0aW9uICIsIlNoYXBlIjoxLCJDdXN0b21TZXR0aW5ncyI6eyJUaXRsZVdpZHRoIjo2Mi42MzA3ODY5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5LjAsIkR1cmF0aW9uRm9ybWF0IjowLCJJbnRlcm5hbElkIjoiYTUyMTc4M2MtZjMwOC00MzEzLWFmNzYtMGNkOWMyOTIzZTNjIiwiSW5kZXgiOjMsIkNvbG9yIjoiODAsIDgwLCA3MCIsIlV0Y1N0YXJ0RGF0ZSI6IjIwMTQtMDctMjVUMDA6MDA6MDBaIiwiTm90ZSI6bnVsbCwiVXRjRW5kRGF0ZSI6IjIwMTQtMDktMDFUMDA6MDA6MDBaIiwiVGl0bGUiOiJEYXRhIEFuYWx5c2lzIiwiU2hhcGUiOjEsIkN1c3RvbVNldHRpbmdzIjp7IlRpdGxlV2lkdGgiOjc0LjM2OTIx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mYWxz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C4wLCJEdXJhdGlvbkZvcm1hdCI6MCwiSW50ZXJuYWxJZCI6IjljZGU2ZDVkLTMwN2ItNGRmNy1iMTQ2LTQyNDhjYWI3ZmVmNiIsIkluZGV4Ijo0LCJDb2xvciI6IjE3OCwgMzgsIDAiLCJVdGNTdGFydERhdGUiOiIyMDE0LTA4LTExVDAwOjAwOjAwWiIsIk5vdGUiOm51bGwsIlV0Y0VuZERhdGUiOiIyMDE0LTA5LTEzVDAwOjAwOjAwWiIsIlRpdGxlIjoiQXJjaGl0ZWN0dXJhbCBSZXZpZXciLCJTaGFwZSI6MSwiQ3VzdG9tU2V0dGluZ3MiOnsiVGl0bGVXaWR0aCI6MTA4LjE5NjM4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0Mi4wLCJEdXJhdGlvbkZvcm1hdCI6MCwiSW50ZXJuYWxJZCI6IjZhNmU3MTQ5LTY2MWMtNGQ5OC1hZTIyLWI5YTg0YTIwYzBjZCIsIkluZGV4Ijo1LCJDb2xvciI6IjgwLCA4MCwgNzAiLCJVdGNTdGFydERhdGUiOiIyMDE0LTA4LTI1VDAwOjAwOjAwWiIsIk5vdGUiOm51bGwsIlV0Y0VuZERhdGUiOiIyMDE0LTEwLTA1VDAwOjAwOjAwWiIsIlRpdGxlIjoiU3lzdGVtIERlc2lnbiIsIlNoYXBlIjoxLCJDdXN0b21TZXR0aW5ncyI6eyJUaXRsZVdpZHRoIjo3OS42NzA0Ny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ZmFsc2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zguMCwiRHVyYXRpb25Gb3JtYXQiOjAsIkludGVybmFsSWQiOiJkYjUyODIwZS04OTYyLTRjMmYtYTQwNi04NzZkYWI5YjM2NjAiLCJJbmRleCI6NiwiQ29sb3IiOiIxNzgsIDM4LCAwIiwiVXRjU3RhcnREYXRlIjoiMjAxNC0wOS0wN1QwMDowMDowMFoiLCJOb3RlIjpudWxsLCJVdGNFbmREYXRlIjoiMjAxNC0xMC0xNFQwMDowMDowMFoiLCJUaXRsZSI6IkRhdGFiYXNlIiwiU2hhcGUiOjEsIkN1c3RvbVNldHRpbmdzIjp7IlRpdGxlV2lkdGgiOjQ5LjIyNjA2Mjg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2LjAsIkR1cmF0aW9uRm9ybWF0IjowLCJJbnRlcm5hbElkIjoiMzZmNzgxOGQtMDFhMS00MGI1LTg3MTYtYTBlZWE0OTcyNDI1IiwiSW5kZXgiOjcsIkNvbG9yIjoiODAsIDgwLCA3MCIsIlV0Y1N0YXJ0RGF0ZSI6IjIwMTQtMDktMjVUMDA6MDA6MDBaIiwiTm90ZSI6bnVsbCwiVXRjRW5kRGF0ZSI6IjIwMTQtMTAtMjBUMDA6MDA6MDBaIiwiVGl0bGUiOiJEYXRhIEltcHJvdmUiLCJTaGFwZSI6MSwiQ3VzdG9tU2V0dGluZ3MiOnsiVGl0bGVXaWR0aCI6NjguMDMyOTk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NjMuMCwiRHVyYXRpb25Gb3JtYXQiOjAsIkludGVybmFsSWQiOiJkYmM1MDMxOC03NDNmLTRkNmItYTk5NS1mYjNlN2I0MTg3ZDciLCJJbmRleCI6OCwiQ29sb3IiOiIxNzgsIDM4LCAwIiwiVXRjU3RhcnREYXRlIjoiMjAxNC0xMC0xNVQwMDowMDowMFoiLCJOb3RlIjpudWxsLCJVdGNFbmREYXRlIjoiMjAxNC0xMi0xNlQwMDowMDowMFoiLCJUaXRsZSI6IkNvZGluZyIsIlNoYXBlIjoxLCJDdXN0b21TZXR0aW5ncyI6eyJUaXRsZVdpZHRoIjo0NS41OTA5NDYy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wLjAsIkR1cmF0aW9uRm9ybWF0IjowLCJJbnRlcm5hbElkIjoiNTBkZjRhZGQtYTI5YS00OTRjLWJlMGUtOWU4NDY4NjU5ODZiIiwiSW5kZXgiOjksIkNvbG9yIjoiODAsIDgwLCA3MCIsIlV0Y1N0YXJ0RGF0ZSI6IjIwMTQtMTItMTJUMDA6MDA6MDBaIiwiTm90ZSI6bnVsbCwiVXRjRW5kRGF0ZSI6IjIwMTQtMTItMzFUMDA6MDA6MDBaIiwiVGl0bGUiOiJXZWJzaXRlIFRlc3RpbmciLCJTaGFwZSI6MSwiQ3VzdG9tU2V0dGluZ3MiOnsiVGl0bGVXaWR0aCI6ODYuNzM4O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ViOTU0Mjc1LWM1YjUtNGJlNS05MGJlLWUzZDE3YjBjZThhMyIsIkluZGV4IjoxMCwiQ29sb3IiOiIxNzgsIDM4LCAwIiwiVXRjU3RhcnREYXRlIjoiMjAxNS0wMS0wMlQwMDowMDowMFoiLCJOb3RlIjpudWxsLCJVdGNFbmREYXRlIjoiMjAxNS0wMi0wNlQwMDowMDowMFoiLCJUaXRsZSI6Ik9ubGluZSBUZXN0aW5nICIsIlNoYXBlIjoxLCJDdXN0b21TZXR0aW5ncyI6eyJUaXRsZVdpZHRoIjo4MS41NjM4Ni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4NS4wLCJEdXJhdGlvbkZvcm1hdCI6MCwiSW50ZXJuYWxJZCI6IjdlZTkzNjdkLTgzZTctNDMxMi1hZGFhLTZkNGJjZjIyMmY3NSIsIkluZGV4IjoxMSwiQ29sb3IiOiI4MCwgODAsIDcwIiwiVXRjU3RhcnREYXRlIjoiMjAxNS0wMS0xNVQwMDowMDowMFoiLCJOb3RlIjpudWxsLCJVdGNFbmREYXRlIjoiMjAxNS0wNC0wOVQwMDowMDowMFoiLCJUaXRsZSI6IkNvZGluZyIsIlNoYXBlIjoxLCJDdXN0b21TZXR0aW5ncyI6eyJUaXRsZVdpZHRoIjozNi4wOTkxMzI1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1LjAsIkR1cmF0aW9uRm9ybWF0IjowLCJJbnRlcm5hbElkIjoiZTViNjJkNjgtNGRhZi00YzgyLTgxN2UtNjRiMWVlNzM5NGFjIiwiSW5kZXgiOjEyLCJDb2xvciI6IjE3OCwgMzgsIDAiLCJVdGNTdGFydERhdGUiOiIyMDE1LTAzLTI1VDAwOjAwOjAwWiIsIk5vdGUiOm51bGwsIlV0Y0VuZERhdGUiOiIyMDE1LTA0LTE4VDAwOjAwOjAwWiIsIlRpdGxlIjoiU3lzdGVtIFRlc3RpbmcgIiwiU2hhcGUiOjEsIkN1c3RvbVNldHRpbmdzIjp7IlRpdGxlV2lkdGgiOjcyLjU3Njk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Dk0NTcyOGUtOTZlOC00NDUzLTliM2MtMDE4YzJiZThhODY5IiwiSW5kZXgiOjEzLCJDb2xvciI6IjgwLCA4MCwgNzAiLCJVdGNTdGFydERhdGUiOiIyMDE1LTA0LTAxVDAwOjAwOjAwWiIsIk5vdGUiOm51bGwsIlV0Y0VuZERhdGUiOiIyMDE1LTA1LTAyVDAwOjAwOjAwWiIsIlRpdGxlIjoiU3RhYmlsaXphdGlvbiAiLCJTaGFwZSI6MSwiQ3VzdG9tU2V0dGluZ3MiOnsiVGl0bGVXaWR0aCI6NzEuOTcx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M5YjhiNDljLTQzODMtNDY4My1iNGFhLTE0YjY1NjYyOTY4NiIsIkluZGV4IjoxNCwiQ29sb3IiOiIxNzgsIDM4LCAwIiwiVXRjU3RhcnREYXRlIjoiMjAxNS0wNC0xOFQwMDowMDowMFoiLCJOb3RlIjpudWxsLCJVdGNFbmREYXRlIjoiMjAxNS0wNS0yM1QwMDowMDowMFoiLCJUaXRsZSI6IlBlcmZvcm1hbmNlIEVuaGFuY2luZyIsIlNoYXBlIjoxLCJDdXN0b21TZXR0aW5ncyI6eyJUaXRsZVdpZHRoIjoxMjEuODI4MTg2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TBiZjU2OWMtNjc4NS00MjI1LWEzN2QtM2VmODYzOWQxMmUxIiwiSW5kZXgiOjE1LCJDb2xvciI6IjgwLCA4MCwgNzAiLCJVdGNTdGFydERhdGUiOiIyMDE1LTA1LTMwVDAwOjAwOjAwWiIsIk5vdGUiOm51bGwsIlV0Y0VuZERhdGUiOiIyMDE1LTA2LTMwVDAwOjAwOjAwWiIsIlRpdGxlIjoiSW50ZWdyYXRpb24gd2l0aCBXZWJzaXRlIiwiU2hhcGUiOjEsIkN1c3RvbVNldHRpbmdzIjp7IlRpdGxlV2lkdGgiOjE4MC4wLCJUaXRsZUZvbnRTZXR0aW5ncyI6eyJGb250U2l6ZSI6MTAsIkZvbnROYW1lIjoiQ2VudHVyeSBHb3RoaWMiLCJJc0JvbGQiOnRydWUsIklzSXRhbGljIjpmYWxzZSwiSXNVbmRlcmxpbmVkIjpmYWxzZSwiRm9yZWdyb3VuZENvbG9yIjoiMTgyLCA3MywgMzg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zLjB9LCJIb3Jpem9udGFsQ29ubmVjdG9yU2V0dGluZ3MiOnsiQ29sb3IiOiIyMzgsIDIzNiwgMjI1IiwiSXNWaXNpYmxlIjp0cnVlLCJMaW5lV2VpZ2h0IjozLjB9LCJUYXNrU2hhcGVCb3JkZXJTZXR0aW5ncyI6eyJDb2xvciI6IlJlZCIsIkxpbmVXZWlnaHQiOjAuMH0sIlNtYXJ0VGl0bGVGb3JlZ3JvdW5kIjoiODAsIDgwLCA3MCIsIlNtYXJ0VGl0bGVGb3JlZ3JvdW5kSXNBY3RpdmUiOmZhbHN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MC4wLCJEdXJhdGlvbkZvcm1hdCI6MCwiSW50ZXJuYWxJZCI6ImMwYzA1NWFkLTE3MjYtNGZkYy1iZjIxLTNjZjc2MmI0NDcwZCIsIkluZGV4IjoxNiwiQ29sb3IiOiIxNzgsIDM4LCAwIiwiVXRjU3RhcnREYXRlIjoiMjAxNS0wNi0xNFQwMDowMDowMFoiLCJOb3RlIjpudWxsLCJVdGNFbmREYXRlIjoiMjAxNS0wNy0wM1QwMDowMDowMFoiLCJUaXRsZSI6IlVzZXIgQWNjZXB0YW5jZSBUZXN0aW5nICIsIlNoYXBlIjoxLCJDdXN0b21TZXR0aW5ncyI6eyJUaXRsZVdpZHRoIjoxMjAuMC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NC4wLCJEdXJhdGlvbkZvcm1hdCI6MCwiSW50ZXJuYWxJZCI6ImFmZjRmODU1LTU0ZWMtNGI0Ny1hYTRmLTk1ZjdiZjgyZGE0NSIsIkluZGV4IjoxNywiQ29sb3IiOiI4MCwgODAsIDcwIiwiVXRjU3RhcnREYXRlIjoiMjAxNS0wNy0wMlQwMDowMDowMFoiLCJOb3RlIjpudWxsLCJVdGNFbmREYXRlIjoiMjAxNS0wNy0yNVQwMDowMDowMFoiLCJUaXRsZSI6IkRvY3VtZW50YXRpb24gIiwiU2hhcGUiOjEsIkN1c3RvbVNldHRpbmdzIjp7IlRpdGxlV2lkdGgiOjgwLjQwMjU5NTU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jEuMCwiRHVyYXRpb25Gb3JtYXQiOjAsIkludGVybmFsSWQiOiJhYzQ0Y2QwZS1iMjJjLTQ3MzAtODE4Mi1hMzg4NjExYjljMDEiLCJJbmRleCI6MTgsIkNvbG9yIjoiMTc4LCAzOCwgMCIsIlV0Y1N0YXJ0RGF0ZSI6IjIwMTUtMDctMTBUMDA6MDA6MDBaIiwiTm90ZSI6bnVsbCwiVXRjRW5kRGF0ZSI6IjIwMTUtMDctMzBUMDA6MDA6MDBaIiwiVGl0bGUiOiJTdGFnZSAxIFN1Ym1pc3Npb24iLCJTaGFwZSI6MSwiQ3VzdG9tU2V0dGluZ3MiOnsiVGl0bGVXaWR0aCI6OTMuMDI0NzMsIlRpdGxlRm9udFNldHRpbmdzIjp7IkZvbnRTaXplIjoxMCwiRm9udE5hbWUiOiJDZW50dXJ5IEdvdGhpYyIsIklzQm9sZCI6dHJ1ZSwiSXNJdGFsaWMiOnRydWUsIklzVW5kZXJsaW5lZCI6dHJ1ZSwiRm9yZWdyb3VuZENvbG9yIjoiMTc4LCAzOCwg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ZmFsc2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V0sIlN0eWxlIjp7IlRpbWVsaW5lU2V0dGluZ3MiOnsiVG9kYXlNYXJrZXJDb2xvciI6IjE4MiwgNzMsIDM4IiwiVG9kYXlNYXJrZXJGb250U2V0dGluZ3MiOnsiRm9udFNpemUiOjEwLCJGb250TmFtZSI6IkNlbnR1cnkgR290aGljIiwiSXNCb2xkIjpmYWxzZSwiSXNJdGFsaWMiOmZhbHNlLCJJc1VuZGVybGluZWQiOmZhbHNlLCJGb3JlZ3JvdW5kQ29sb3IiOiIwLCAwLCAwIiwiQmFja0NvbG9yIjpudWxsfSwiU3RhcnRZZWFyRm9udCI6eyJGb250U2l6ZSI6MTgsIkZvbnROYW1lIjoiQ2FsaWJyaSIsIklzQm9sZCI6dHJ1ZSwiSXNJdGFsaWMiOmZhbHNlLCJJc1VuZGVybGluZWQiOmZhbHNlLCJGb3JlZ3JvdW5kQ29sb3IiOiJPcmFuZ2VSZWQiLCJCYWNrQ29sb3IiOm51bGx9LCJFbmRZZWFyRm9udCI6eyJGb250U2l6ZSI6MTgsIkZvbnROYW1lIjoiQ2FsaWJyaSIsIklzQm9sZCI6dHJ1ZSwiSXNJdGFsaWMiOmZhbHNlLCJJc1VuZGVybGluZWQiOmZhbHNlLCJGb3JlZ3JvdW5kQ29sb3IiOiJPcmFuZ2VSZWQiLCJCYWNrQ29sb3IiOm51bGx9LCJJc1RoaW4iOnRydWUsIkhhczNERWZmZWN0Ijp0cnVlLCJUaW1lYmFuZElzUm91bmRlZCI6dHJ1ZSwiVGltZWJhbmRDb2xvciI6IjE2NywgNDcsIDE0IiwiVGltZWJhbmRGb250U2V0dGluZ3MiOnsiRm9udFNpemUiOjEyLCJGb250TmFtZSI6IkNlbnR1cnkgR290aGljIiwiSXNCb2xkIjp0cnVlLCJJc0l0YWxpYyI6ZmFsc2UsIklzVW5kZXJsaW5lZCI6ZmFsc2UsIkZvcmVncm91bmRDb2xvciI6IldoaXRlIiwiQmFja0NvbG9yIjpudWxsfSwiRWxhcHNlZFRpbWVDb2xvciI6IjI1NSwgMTMyLCAzOSIsIkVsYXBzZWRUaW1lU3R5bGUiOjEsIlRvZGF5TWFya2VyUG9zaXRpb24iOjIsIkNhcHNQb3NpdGlvbiI6MH0sIkRlZmF1bHRNaWxlc3RvbmVTZXR0aW5ncyI6eyJGbGFnQ29ubmVjdG9yU2V0dGluZ3MiOnsiQ29sb3IiOiJCbGFjayIsIklzVmlzaWJsZSI6ZmFsc2UsIkxpbmVXZWlnaHQiOjAuMX0sIkRhdGVGb3JtYXQiOnsiRm9ybWF0U3RyaW5nIjoiTS9kL3l5eXkiLCJTZXBhcmF0b3IiOiIvIiwiVXNlSW50ZXJuYXRpb25hbERhdGVGb3JtYXQiOmZhbHNlfSwiSXNEYXRlVmlzaWJsZSI6dHJ1ZSwiVGl0bGVGb250U2V0dGluZ3MiOnsiRm9udFNpemUiOjExLCJGb250TmFtZSI6IkNlbnR1cnkgR290aGljIiwiSXNCb2xkIjpmYWxzZSwiSXNJdGFsaWMiOmZhbHNlLCJJc1VuZGVybGluZWQiOmZhbHNlLCJGb3JlZ3JvdW5kQ29sb3IiOiJCbGFjay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iLCJJc1Zpc2libGUiOmZhbHNlLCJMaW5lV2VpZ2h0IjowLjF9fSwiRGVmYXVsdFRhc2tTZXR0aW5ncyI6eyJEYXRlRm9udFNldHRpbmdzIjp7IkZvbnRTaXplIjo5LCJGb250TmFtZSI6IkNlbnR1cnkgR290aGljIiwiSXNCb2xkIjpmYWxzZSwiSXNJdGFsaWMiOmZhbHNlLCJJc1VuZGVybGluZWQiOmZhbHNlLCJGb3JlZ3JvdW5kQ29sb3IiOiIyMzIsIDc2LCAzNCIsIkJhY2tDb2xvciI6bnVsbH0sIlN0YXJ0RGF0ZUZvbnRTZXR0aW5ncyI6eyJGb250U2l6ZSI6MTIsIkZvbnROYW1lIjoiQ2FsaWJyaSIsIklzQm9sZCI6ZmFsc2UsIklzSXRhbGljIjpmYWxzZSwiSXNVbmRlcmxpbmVkIjpmYWxzZSwiRm9yZWdyb3VuZENvbG9yIjoiV2hpdGUiLCJCYWNrQ29sb3IiOm51bGx9LCJFbmREYXRlRm9udFNldHRpbmdzIjp7IkZvbnRTaXplIjoxMiwiRm9udE5hbWUiOiJDYWxpYnJpIiwiSXNCb2xkIjpmYWxzZSwiSXNJdGFsaWMiOmZhbHNlLCJJc1VuZGVybGluZWQiOmZhbHNlLCJGb3JlZ3JvdW5kQ29sb3IiOiJXaGl0ZSIsIkJhY2tDb2xvciI6bnVsbH0sIkR1cmF0aW9uRm9udFNldHRpbmdzIjp7IkZvbnRTaXplIjoxMCwiRm9udE5hbWUiOiJDYWxpYnJpIiwiSXNCb2xkIjpmYWxzZSwiSXNJdGFsaWMiOmZhbHNlLCJJc1VuZGVybGluZWQiOmZhbHNlLCJGb3JlZ3JvdW5kQ29sb3IiOiIxOTIsIDgwLCA3NyIsIkJhY2tDb2xvciI6bnVsbH0sIklzVGhpY2siOmZhbHNlLCJUYXNrc0Fib3ZlVGltZWJhbmQiOmZhbHNlLCJEYXRlRm9ybWF0Ijp7IkZvcm1hdFN0cmluZyI6Ik0vZCIsIlNlcGFyYXRvciI6Ii8iLCJVc2VJbnRlcm5hdGlvbmFsRGF0ZUZvcm1hdCI6ZmFsc2V9LCJEdXJhdGlvblBvc2l0aW9uIjoxLCJEdXJhdGlvbkZvcm1hdCI6MCwiUmVuZGVyTG9uZ1Rhc2tUaXRsZUFib3ZlVGFza1NoYXBlIjpmYWxzZSwiSXNIb3Jpem9udGFsQ29ubmVjdG9yVmlzaWJsZSI6dHJ1ZSwiSXNWZXJ0aWNhbENvbm5lY3RvclZpc2libGUiOnRydWUsIkludGVydmFsVGV4dFBvc2l0aW9uIjozLCJJbnRlcnZhbERhdGVQb3NpdGlvbiI6MiwiVGl0bGVXaWR0aCI6bnVsbCwiVGl0bGVGb250U2V0dGluZ3MiOnsiRm9udFNpemUiOjEwLCJGb250TmFtZSI6IkNlbnR1cnkgR290aGljIiwiSXNCb2xkIjpmYWxzZSwiSXNJdGFsaWMiOmZhbHNlLCJJc1VuZGVybGluZWQiOmZhbHNlLCJGb3JlZ3JvdW5kQ29sb3IiOiI4MCwgODAsIDcw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iLCJTbWFydFRpdGxlRm9yZWdyb3VuZElzQWN0aXZlIjpmYWxzZSwiU21hcnREdXJhdGlvbkZvcmVncm91bmQiOiIiLCJTbWFydER1cmF0aW9uRm9yZWdyb3VuZElzQWN0aXZlIjpmYWxzZSwiU21hcnREYXRlRm9yZWdyb3VuZCI6I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NjYWxlU2V0dGluZ3MiOnsiRGF0ZUZvcm1hdCI6Ik1NTSIsIkludGVydmFsVHlwZSI6NSwiVXNlQXV0b21hdGljVGltZVNjYWxlIjp0cnVlLCJDdXN0b21UaW1lU2NhbGVVdGNTdGFydERhdGUiOiIyMDE0LTA2LTE4VDAwOjAwOjAwWiIsIkN1c3RvbVRpbWVTY2FsZVV0Y0VuZERhdGUiOiIyMDE1LTA3LTMxVDAwOjAwOjAwWiJ9fSwiVGltZWJhbmRWZXJ0aWNhbFBvc2l0aW9uIjp7IlF1aWNrUG9zaXRpb24iOjMsIlJlbGF0aXZlUG9zaXRpb24iOjE1LjAsIkFic29sdXRlUG9zaXRpb24iOjgxLjAsIlByZXZpb3VzQWJzb2x1dGVQb3NpdGlvbiI6ODEuMH19"/>
  <p:tag name="__MASTER" val="__part_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JSZW5kZXJpbmdPcHRpb25zIjp7Ik1pbGVzdG9uZXNPdmVybGFwcGluZ0hhbmRsaW5nT3B0aW9ucyI6MiwiVGFza3NXaXRoVGl0bGVzTG9uZ2VyVGhhblRoZVRhc2tTaGFwZURldGVjdGVkIjpmYWxzZX0sIlJlbmRlcmluZ01hcCI6eyJNaWxlc3RvbmVzIjpbeyJNaWxlc3RvbmVJZCI6ImQ4NmUxNTJhLTI3OTAtNDU4OC1hYTYyLTk0Nzc5ZTFkZmJlOSIsIlRpdGxlU2hhcGVOYW1lIjoiVGV4dEJveCAzODMwMyIsIkRhdGVTaGFwZU5hbWUiOiJUZXh0Qm94IDM4MzA2IiwiTWFya2VyU2hhcGVOYW1lIjoiQ2hldnJvbiAzODI5OSIsIkNvbm5lY3RvclNoYXBlTmFtZSI6IlN0cmFpZ2h0IENvbm5lY3RvciAzODMwOCJ9LHsiTWlsZXN0b25lSWQiOiJkYmI1MGY1Ni0zM2JmLTQ0M2YtOTI0YS05YjJhNmMxOTRiZjkiLCJUaXRsZVNoYXBlTmFtZSI6IlRleHRCb3ggMzgzMTQiLCJEYXRlU2hhcGVOYW1lIjoiVGV4dEJveCAzODMxNiIsIk1hcmtlclNoYXBlTmFtZSI6IkZsb3djaGFydDogTWFudWFsIE9wZXJhdGlvbiAzODMxMSIsIkNvbm5lY3RvclNoYXBlTmFtZSI6IlN0cmFpZ2h0IENvbm5lY3RvciAzODMxOSJ9LHsiTWlsZXN0b25lSWQiOiJjNWYwYjBhYS1kZmRjLTQ4OGQtODhlOC0xMWExMTE2YWMxYzciLCJUaXRsZVNoYXBlTmFtZSI6IlRleHRCb3ggMzgzMjQiLCJEYXRlU2hhcGVOYW1lIjoiVGV4dEJveCAzODMyNyIsIk1hcmtlclNoYXBlTmFtZSI6IkNoZXZyb24gMzgzMjIiLCJDb25uZWN0b3JTaGFwZU5hbWUiOiJTdHJhaWdodCBDb25uZWN0b3IgMzgzMzAifSx7Ik1pbGVzdG9uZUlkIjoiNjNkYTYxMjMtZmI0My00MTlhLWE4NWUtYjgzZGYwYzk3OWY2IiwiVGl0bGVTaGFwZU5hbWUiOiJUZXh0Qm94IDM4MzM0IiwiRGF0ZVNoYXBlTmFtZSI6IlRleHRCb3ggMzgzMzciLCJNYXJrZXJTaGFwZU5hbWUiOiJDaGV2cm9uIDM4MzMyIiwiQ29ubmVjdG9yU2hhcGVOYW1lIjpudWxsfSx7Ik1pbGVzdG9uZUlkIjoiZjAzZGU0OWUtOThkMy00YjE1LTg4MWMtZWJjMjllZDNlYWY5IiwiVGl0bGVTaGFwZU5hbWUiOiJUZXh0Qm94IDM4MzQyIiwiRGF0ZVNoYXBlTmFtZSI6IlRleHRCb3ggMzgzNDUiLCJNYXJrZXJTaGFwZU5hbWUiOiJGbG93Y2hhcnQ6IE1hbnVhbCBPcGVyYXRpb24gMzgzNDAiLCJDb25uZWN0b3JTaGFwZU5hbWUiOiJTdHJhaWdodCBDb25uZWN0b3IgMzgzNDcifSx7Ik1pbGVzdG9uZUlkIjoiZTE5OTc4MzAtZTkxNi00ZjE4LTk3YmEtMjc5NGFkZjUyMGY1IiwiVGl0bGVTaGFwZU5hbWUiOiJUZXh0Qm94IDM4MzUzIiwiRGF0ZVNoYXBlTmFtZSI6IlRleHRCb3ggMzgzNTYiLCJNYXJrZXJTaGFwZU5hbWUiOiJDaGV2cm9uIDM4MzUwIiwiQ29ubmVjdG9yU2hhcGVOYW1lIjoiU3RyYWlnaHQgQ29ubmVjdG9yIDM4MzU4In1dLCJUYXNrcyI6W3siVGFza0lkIjoiZjNjNzcwZDgtYTZhMi00MjM4LWE1N2ItMzczZWY5OTg0NTUwIiwiVGl0bGVTaGFwZU5hbWUiOiJUZXh0Qm94IDM4MzY2IiwiRHVyYXRpb25UZXh0U2hhcGVOYW1lIjoiVGV4dEJveCAzODM3NiIsIlNlZ21lbnRTaGFwZU5hbWUiOiJSb3VuZGVkIFJlY3RhbmdsZSAzODM2MiIsIlZlcnRpY2FsTGVmdENvbm5lY3RvclNoYXBlTmFtZSI6IlN0cmFpZ2h0IENvbm5lY3RvciAzODM4MyIsIlZlcnRpY2FsUmlnaHRDb25uZWN0b3JTaGFwZU5hbWUiOiJTdHJhaWdodCBDb25uZWN0b3IgMzgzODYiLCJIb3Jpem9udGFsQ29ubmVjdG9yU2hhcGVOYW1lIjoiU3RyYWlnaHQgQ29ubmVjdG9yIDM4MzgxIiwiTGVmdERhdGVTaGFwZU5hbWUiOiJUZXh0Qm94IDM4MzcyIiwiUmlnaHREYXRlU2hhcGVOYW1lIjoiVGV4dEJveCAzODM3MCIsIk91dHNpZGVQZXJjZW50YWdlU2hhcGVOYW1lIjpudWxsLCJJbnNpZGVQZXJjZW50YWdlU2hhcGVOYW1lIjpudWxsfSx7IlRhc2tJZCI6ImMzZDY4NWQ1LWFlODUtNGZiMS04NTkyLTVlNTI3ZTUzNGYyOCIsIlRpdGxlU2hhcGVOYW1lIjoiVGV4dEJveCAzODM5MyIsIkR1cmF0aW9uVGV4dFNoYXBlTmFtZSI6IlRleHRCb3ggMzg0MDQiLCJTZWdtZW50U2hhcGVOYW1lIjoiUm91bmRlZCBSZWN0YW5nbGUgMzgzODkiLCJWZXJ0aWNhbExlZnRDb25uZWN0b3JTaGFwZU5hbWUiOiJTdHJhaWdodCBDb25uZWN0b3IgMzg0MTAiLCJWZXJ0aWNhbFJpZ2h0Q29ubmVjdG9yU2hhcGVOYW1lIjoiU3RyYWlnaHQgQ29ubmVjdG9yIDM4NDEzIiwiSG9yaXpvbnRhbENvbm5lY3RvclNoYXBlTmFtZSI6IlN0cmFpZ2h0IENvbm5lY3RvciAzODQwNyIsIkxlZnREYXRlU2hhcGVOYW1lIjoiVGV4dEJveCAzODQwMCIsIlJpZ2h0RGF0ZVNoYXBlTmFtZSI6IlRleHRCb3ggMzgzOTciLCJPdXRzaWRlUGVyY2VudGFnZVNoYXBlTmFtZSI6bnVsbCwiSW5zaWRlUGVyY2VudGFnZVNoYXBlTmFtZSI6bnVsbH0seyJUYXNrSWQiOiJhNTIxNzgzYy1mMzA4LTQzMTMtYWY3Ni0wY2Q5YzI5MjNlM2MiLCJUaXRsZVNoYXBlTmFtZSI6IlRleHRCb3ggMzg0MjEiLCJEdXJhdGlvblRleHRTaGFwZU5hbWUiOiJUZXh0Qm94IDM4NDMxIiwiU2VnbWVudFNoYXBlTmFtZSI6IlJvdW5kZWQgUmVjdGFuZ2xlIDM4NDE3IiwiVmVydGljYWxMZWZ0Q29ubmVjdG9yU2hhcGVOYW1lIjoiU3RyYWlnaHQgQ29ubmVjdG9yIDM4NDM4IiwiVmVydGljYWxSaWdodENvbm5lY3RvclNoYXBlTmFtZSI6IlN0cmFpZ2h0IENvbm5lY3RvciAzODQ0MCIsIkhvcml6b250YWxDb25uZWN0b3JTaGFwZU5hbWUiOiJTdHJhaWdodCBDb25uZWN0b3IgMzg0MzUiLCJMZWZ0RGF0ZVNoYXBlTmFtZSI6IlRleHRCb3ggMzg0MjciLCJSaWdodERhdGVTaGFwZU5hbWUiOiJUZXh0Qm94IDM4NDI1IiwiT3V0c2lkZVBlcmNlbnRhZ2VTaGFwZU5hbWUiOm51bGwsIkluc2lkZVBlcmNlbnRhZ2VTaGFwZU5hbWUiOm51bGx9LHsiVGFza0lkIjoiOWNkZTZkNWQtMzA3Yi00ZGY3LWIxNDYtNDI0OGNhYjdmZWY2IiwiVGl0bGVTaGFwZU5hbWUiOiJUZXh0Qm94IDM4NDQ5IiwiRHVyYXRpb25UZXh0U2hhcGVOYW1lIjoiVGV4dEJveCAzODQ1OSIsIlNlZ21lbnRTaGFwZU5hbWUiOiJSb3VuZGVkIFJlY3RhbmdsZSAzODQ0NSIsIlZlcnRpY2FsTGVmdENvbm5lY3RvclNoYXBlTmFtZSI6IlN0cmFpZ2h0IENvbm5lY3RvciAzODQ2NiIsIlZlcnRpY2FsUmlnaHRDb25uZWN0b3JTaGFwZU5hbWUiOiJTdHJhaWdodCBDb25uZWN0b3IgMzg0NjgiLCJIb3Jpem9udGFsQ29ubmVjdG9yU2hhcGVOYW1lIjoiU3RyYWlnaHQgQ29ubmVjdG9yIDM4NDYzIiwiTGVmdERhdGVTaGFwZU5hbWUiOiJUZXh0Qm94IDM4NDU1IiwiUmlnaHREYXRlU2hhcGVOYW1lIjoiVGV4dEJveCAzODQ1MiIsIk91dHNpZGVQZXJjZW50YWdlU2hhcGVOYW1lIjpudWxsLCJJbnNpZGVQZXJjZW50YWdlU2hhcGVOYW1lIjpudWxsfSx7IlRhc2tJZCI6IjZhNmU3MTQ5LTY2MWMtNGQ5OC1hZTIyLWI5YTg0YTIwYzBjZCIsIlRpdGxlU2hhcGVOYW1lIjoiVGV4dEJveCAzODQ3NiIsIkR1cmF0aW9uVGV4dFNoYXBlTmFtZSI6IlRleHRCb3ggMzg0ODciLCJTZWdtZW50U2hhcGVOYW1lIjoiUm91bmRlZCBSZWN0YW5nbGUgMzg0NzIiLCJWZXJ0aWNhbExlZnRDb25uZWN0b3JTaGFwZU5hbWUiOiJTdHJhaWdodCBDb25uZWN0b3IgMzg0OTMiLCJWZXJ0aWNhbFJpZ2h0Q29ubmVjdG9yU2hhcGVOYW1lIjoiU3RyYWlnaHQgQ29ubmVjdG9yIDM4NDk1IiwiSG9yaXpvbnRhbENvbm5lY3RvclNoYXBlTmFtZSI6IlN0cmFpZ2h0IENvbm5lY3RvciAzODQ5MCIsIkxlZnREYXRlU2hhcGVOYW1lIjoiVGV4dEJveCAzODQ4MyIsIlJpZ2h0RGF0ZVNoYXBlTmFtZSI6IlRleHRCb3ggMzg0ODAiLCJPdXRzaWRlUGVyY2VudGFnZVNoYXBlTmFtZSI6bnVsbCwiSW5zaWRlUGVyY2VudGFnZVNoYXBlTmFtZSI6bnVsbH0seyJUYXNrSWQiOiJkYjUyODIwZS04OTYyLTRjMmYtYTQwNi04NzZkYWI5YjM2NjAiLCJUaXRsZVNoYXBlTmFtZSI6IlRleHRCb3ggMzg1MDMiLCJEdXJhdGlvblRleHRTaGFwZU5hbWUiOiJUZXh0Qm94IDM4NTE0IiwiU2VnbWVudFNoYXBlTmFtZSI6IlJvdW5kZWQgUmVjdGFuZ2xlIDM4NTAwIiwiVmVydGljYWxMZWZ0Q29ubmVjdG9yU2hhcGVOYW1lIjoiU3RyYWlnaHQgQ29ubmVjdG9yIDM4NTIxIiwiVmVydGljYWxSaWdodENvbm5lY3RvclNoYXBlTmFtZSI6IlN0cmFpZ2h0IENvbm5lY3RvciAzODUyMyIsIkhvcml6b250YWxDb25uZWN0b3JTaGFwZU5hbWUiOiJTdHJhaWdodCBDb25uZWN0b3IgMzg1MTgiLCJMZWZ0RGF0ZVNoYXBlTmFtZSI6IlRleHRCb3ggMzg1MTAiLCJSaWdodERhdGVTaGFwZU5hbWUiOiJUZXh0Qm94IDM4NTA3IiwiT3V0c2lkZVBlcmNlbnRhZ2VTaGFwZU5hbWUiOm51bGwsIkluc2lkZVBlcmNlbnRhZ2VTaGFwZU5hbWUiOm51bGx9LHsiVGFza0lkIjoiMzZmNzgxOGQtMDFhMS00MGI1LTg3MTYtYTBlZWE0OTcyNDI1IiwiVGl0bGVTaGFwZU5hbWUiOiJUZXh0Qm94IDM4NTMxIiwiRHVyYXRpb25UZXh0U2hhcGVOYW1lIjoiVGV4dEJveCAzODU0MSIsIlNlZ21lbnRTaGFwZU5hbWUiOiJSb3VuZGVkIFJlY3RhbmdsZSAzODUyNyIsIlZlcnRpY2FsTGVmdENvbm5lY3RvclNoYXBlTmFtZSI6IlN0cmFpZ2h0IENvbm5lY3RvciAzODU0OCIsIlZlcnRpY2FsUmlnaHRDb25uZWN0b3JTaGFwZU5hbWUiOiJTdHJhaWdodCBDb25uZWN0b3IgMzg1NTEiLCJIb3Jpem9udGFsQ29ubmVjdG9yU2hhcGVOYW1lIjoiU3RyYWlnaHQgQ29ubmVjdG9yIDM4NTQ1IiwiTGVmdERhdGVTaGFwZU5hbWUiOiJUZXh0Qm94IDM4NTM3IiwiUmlnaHREYXRlU2hhcGVOYW1lIjoiVGV4dEJveCAzODUzNSIsIk91dHNpZGVQZXJjZW50YWdlU2hhcGVOYW1lIjpudWxsLCJJbnNpZGVQZXJjZW50YWdlU2hhcGVOYW1lIjpudWxsfSx7IlRhc2tJZCI6ImRiYzUwMzE4LTc0M2YtNGQ2Yi1hOTk1LWZiM2U3YjQxODdkNyIsIlRpdGxlU2hhcGVOYW1lIjoiVGV4dEJveCAzODU1OCIsIkR1cmF0aW9uVGV4dFNoYXBlTmFtZSI6IlRleHRCb3ggMzg1NjkiLCJTZWdtZW50U2hhcGVOYW1lIjoiUm91bmRlZCBSZWN0YW5nbGUgMzg1NTQiLCJWZXJ0aWNhbExlZnRDb25uZWN0b3JTaGFwZU5hbWUiOiJTdHJhaWdodCBDb25uZWN0b3IgMzg1NzUiLCJWZXJ0aWNhbFJpZ2h0Q29ubmVjdG9yU2hhcGVOYW1lIjoiU3RyYWlnaHQgQ29ubmVjdG9yIDM4NTc4IiwiSG9yaXpvbnRhbENvbm5lY3RvclNoYXBlTmFtZSI6IlN0cmFpZ2h0IENvbm5lY3RvciAzODU3MyIsIkxlZnREYXRlU2hhcGVOYW1lIjoiVGV4dEJveCAzODU2NSIsIlJpZ2h0RGF0ZVNoYXBlTmFtZSI6IlRleHRCb3ggMzg1NjIiLCJPdXRzaWRlUGVyY2VudGFnZVNoYXBlTmFtZSI6bnVsbCwiSW5zaWRlUGVyY2VudGFnZVNoYXBlTmFtZSI6bnVsbH0seyJUYXNrSWQiOiI1MGRmNGFkZC1hMjlhLTQ5NGMtYmUwZS05ZTg0Njg2NTk4NmIiLCJUaXRsZVNoYXBlTmFtZSI6IlRleHRCb3ggMzg1ODYiLCJEdXJhdGlvblRleHRTaGFwZU5hbWUiOiJUZXh0Qm94IDM4NTk2IiwiU2VnbWVudFNoYXBlTmFtZSI6IlJvdW5kZWQgUmVjdGFuZ2xlIDM4NTgyIiwiVmVydGljYWxMZWZ0Q29ubmVjdG9yU2hhcGVOYW1lIjoiU3RyYWlnaHQgQ29ubmVjdG9yIDM4NjAzIiwiVmVydGljYWxSaWdodENvbm5lY3RvclNoYXBlTmFtZSI6IlN0cmFpZ2h0IENvbm5lY3RvciAzODYwNSIsIkhvcml6b250YWxDb25uZWN0b3JTaGFwZU5hbWUiOiJTdHJhaWdodCBDb25uZWN0b3IgMzg2MDAiLCJMZWZ0RGF0ZVNoYXBlTmFtZSI6IlRleHRCb3ggMzg1OTIiLCJSaWdodERhdGVTaGFwZU5hbWUiOiJUZXh0Qm94IDM4NTkwIiwiT3V0c2lkZVBlcmNlbnRhZ2VTaGFwZU5hbWUiOm51bGwsIkluc2lkZVBlcmNlbnRhZ2VTaGFwZU5hbWUiOm51bGx9LHsiVGFza0lkIjoiZWI5NTQyNzUtYzViNS00YmU1LTkwYmUtZTNkMTdiMGNlOGEzIiwiVGl0bGVTaGFwZU5hbWUiOiJUZXh0Qm94IDM4NjEzIiwiRHVyYXRpb25UZXh0U2hhcGVOYW1lIjoiVGV4dEJveCAzODYyNCIsIlNlZ21lbnRTaGFwZU5hbWUiOiJSb3VuZGVkIFJlY3RhbmdsZSAzODYwOSIsIlZlcnRpY2FsTGVmdENvbm5lY3RvclNoYXBlTmFtZSI6IlN0cmFpZ2h0IENvbm5lY3RvciAzODYzMCIsIlZlcnRpY2FsUmlnaHRDb25uZWN0b3JTaGFwZU5hbWUiOiJTdHJhaWdodCBDb25uZWN0b3IgMzg2MzMiLCJIb3Jpem9udGFsQ29ubmVjdG9yU2hhcGVOYW1lIjoiU3RyYWlnaHQgQ29ubmVjdG9yIDM4NjI4IiwiTGVmdERhdGVTaGFwZU5hbWUiOiJUZXh0Qm94IDM4NjIwIiwiUmlnaHREYXRlU2hhcGVOYW1lIjoiVGV4dEJveCAzODYxNyIsIk91dHNpZGVQZXJjZW50YWdlU2hhcGVOYW1lIjpudWxsLCJJbnNpZGVQZXJjZW50YWdlU2hhcGVOYW1lIjpudWxsfSx7IlRhc2tJZCI6IjdlZTkzNjdkLTgzZTctNDMxMi1hZGFhLTZkNGJjZjIyMmY3NSIsIlRpdGxlU2hhcGVOYW1lIjoiVGV4dEJveCAzODY0MSIsIkR1cmF0aW9uVGV4dFNoYXBlTmFtZSI6IlRleHRCb3ggMzg2NTIiLCJTZWdtZW50U2hhcGVOYW1lIjoiUm91bmRlZCBSZWN0YW5nbGUgMzg2MzciLCJWZXJ0aWNhbExlZnRDb25uZWN0b3JTaGFwZU5hbWUiOiJTdHJhaWdodCBDb25uZWN0b3IgMzg2NTgiLCJWZXJ0aWNhbFJpZ2h0Q29ubmVjdG9yU2hhcGVOYW1lIjoiU3RyYWlnaHQgQ29ubmVjdG9yIDM4NjYwIiwiSG9yaXpvbnRhbENvbm5lY3RvclNoYXBlTmFtZSI6IlN0cmFpZ2h0IENvbm5lY3RvciAzODY1NSIsIkxlZnREYXRlU2hhcGVOYW1lIjoiVGV4dEJveCAzODY0NyIsIlJpZ2h0RGF0ZVNoYXBlTmFtZSI6IlRleHRCb3ggMzg2NDQiLCJPdXRzaWRlUGVyY2VudGFnZVNoYXBlTmFtZSI6bnVsbCwiSW5zaWRlUGVyY2VudGFnZVNoYXBlTmFtZSI6bnVsbH0seyJUYXNrSWQiOiJlNWI2MmQ2OC00ZGFmLTRjODItODE3ZS02NGIxZWU3Mzk0YWMiLCJUaXRsZVNoYXBlTmFtZSI6IlRleHRCb3ggMzg2NjgiLCJEdXJhdGlvblRleHRTaGFwZU5hbWUiOiJUZXh0Qm94IDM4Njc4IiwiU2VnbWVudFNoYXBlTmFtZSI6IlJvdW5kZWQgUmVjdGFuZ2xlIDM4NjY0IiwiVmVydGljYWxMZWZ0Q29ubmVjdG9yU2hhcGVOYW1lIjoiU3RyYWlnaHQgQ29ubmVjdG9yIDM4Njg2IiwiVmVydGljYWxSaWdodENvbm5lY3RvclNoYXBlTmFtZSI6IlN0cmFpZ2h0IENvbm5lY3RvciAzODY4OCIsIkhvcml6b250YWxDb25uZWN0b3JTaGFwZU5hbWUiOiJTdHJhaWdodCBDb25uZWN0b3IgMzg2ODMiLCJMZWZ0RGF0ZVNoYXBlTmFtZSI6IlRleHRCb3ggMzg2NzUiLCJSaWdodERhdGVTaGFwZU5hbWUiOiJUZXh0Qm94IDM4NjcyIiwiT3V0c2lkZVBlcmNlbnRhZ2VTaGFwZU5hbWUiOm51bGwsIkluc2lkZVBlcmNlbnRhZ2VTaGFwZU5hbWUiOm51bGx9LHsiVGFza0lkIjoiZDk0NTcyOGUtOTZlOC00NDUzLTliM2MtMDE4YzJiZThhODY5IiwiVGl0bGVTaGFwZU5hbWUiOiJUZXh0Qm94IDM4Njk2IiwiRHVyYXRpb25UZXh0U2hhcGVOYW1lIjoiVGV4dEJveCAzODcwNiIsIlNlZ21lbnRTaGFwZU5hbWUiOiJSb3VuZGVkIFJlY3RhbmdsZSAzODY5MiIsIlZlcnRpY2FsTGVmdENvbm5lY3RvclNoYXBlTmFtZSI6IlN0cmFpZ2h0IENvbm5lY3RvciAzODcxMiIsIlZlcnRpY2FsUmlnaHRDb25uZWN0b3JTaGFwZU5hbWUiOiJTdHJhaWdodCBDb25uZWN0b3IgMzg3MTUiLCJIb3Jpem9udGFsQ29ubmVjdG9yU2hhcGVOYW1lIjoiU3RyYWlnaHQgQ29ubmVjdG9yIDM4NzEwIiwiTGVmdERhdGVTaGFwZU5hbWUiOiJUZXh0Qm94IDM4NzAyIiwiUmlnaHREYXRlU2hhcGVOYW1lIjoiVGV4dEJveCAzODY5OSIsIk91dHNpZGVQZXJjZW50YWdlU2hhcGVOYW1lIjpudWxsLCJJbnNpZGVQZXJjZW50YWdlU2hhcGVOYW1lIjpudWxsfSx7IlRhc2tJZCI6ImM5YjhiNDljLTQzODMtNDY4My1iNGFhLTE0YjY1NjYyOTY4NiIsIlRpdGxlU2hhcGVOYW1lIjoiVGV4dEJveCAzODcyMyIsIkR1cmF0aW9uVGV4dFNoYXBlTmFtZSI6IlRleHRCb3ggMzg3MzMiLCJTZWdtZW50U2hhcGVOYW1lIjoiUm91bmRlZCBSZWN0YW5nbGUgMzg3MjAiLCJWZXJ0aWNhbExlZnRDb25uZWN0b3JTaGFwZU5hbWUiOiJTdHJhaWdodCBDb25uZWN0b3IgMzg3NDAiLCJWZXJ0aWNhbFJpZ2h0Q29ubmVjdG9yU2hhcGVOYW1lIjoiU3RyYWlnaHQgQ29ubmVjdG9yIDM4NzQzIiwiSG9yaXpvbnRhbENvbm5lY3RvclNoYXBlTmFtZSI6IlN0cmFpZ2h0IENvbm5lY3RvciAzODczOCIsIkxlZnREYXRlU2hhcGVOYW1lIjoiVGV4dEJveCAzODczMCIsIlJpZ2h0RGF0ZVNoYXBlTmFtZSI6IlRleHRCb3ggMzg3MjciLCJPdXRzaWRlUGVyY2VudGFnZVNoYXBlTmFtZSI6bnVsbCwiSW5zaWRlUGVyY2VudGFnZVNoYXBlTmFtZSI6bnVsbH0seyJUYXNrSWQiOiJlMGJmNTY5Yy02Nzg1LTQyMjUtYTM3ZC0zZWY4NjM5ZDEyZTEiLCJUaXRsZVNoYXBlTmFtZSI6IlRleHRCb3ggMzg3NTIiLCJEdXJhdGlvblRleHRTaGFwZU5hbWUiOiJUZXh0Qm94IDM4NzY1IiwiU2VnbWVudFNoYXBlTmFtZSI6IlJvdW5kZWQgUmVjdGFuZ2xlIDM4NzQ3IiwiVmVydGljYWxMZWZ0Q29ubmVjdG9yU2hhcGVOYW1lIjoiU3RyYWlnaHQgQ29ubmVjdG9yIDM4NzczIiwiVmVydGljYWxSaWdodENvbm5lY3RvclNoYXBlTmFtZSI6IlN0cmFpZ2h0IENvbm5lY3RvciAzODc3NiIsIkhvcml6b250YWxDb25uZWN0b3JTaGFwZU5hbWUiOiJTdHJhaWdodCBDb25uZWN0b3IgMzg3NzAiLCJMZWZ0RGF0ZVNoYXBlTmFtZSI6IlRleHRCb3ggMzg3NjAiLCJSaWdodERhdGVTaGFwZU5hbWUiOiJUZXh0Qm94IDM4NzU3IiwiT3V0c2lkZVBlcmNlbnRhZ2VTaGFwZU5hbWUiOm51bGwsIkluc2lkZVBlcmNlbnRhZ2VTaGFwZU5hbWUiOm51bGx9LHsiVGFza0lkIjoiYzBjMDU1YWQtMTcyNi00ZmRjLWJmMjEtM2NmNzYyYjQ0NzBkIiwiVGl0bGVTaGFwZU5hbWUiOiJUZXh0Qm94IDM4Nzg2IiwiRHVyYXRpb25UZXh0U2hhcGVOYW1lIjoiVGV4dEJveCAzODc5OSIsIlNlZ21lbnRTaGFwZU5hbWUiOiJSb3VuZGVkIFJlY3RhbmdsZSAzODc4MSIsIlZlcnRpY2FsTGVmdENvbm5lY3RvclNoYXBlTmFtZSI6IlN0cmFpZ2h0IENvbm5lY3RvciAzODgwNyIsIlZlcnRpY2FsUmlnaHRDb25uZWN0b3JTaGFwZU5hbWUiOiJTdHJhaWdodCBDb25uZWN0b3IgMzg4MTAiLCJIb3Jpem9udGFsQ29ubmVjdG9yU2hhcGVOYW1lIjoiU3RyYWlnaHQgQ29ubmVjdG9yIDM4ODA0IiwiTGVmdERhdGVTaGFwZU5hbWUiOiJUZXh0Qm94IDM4Nzk0IiwiUmlnaHREYXRlU2hhcGVOYW1lIjoiVGV4dEJveCAzODc5MSIsIk91dHNpZGVQZXJjZW50YWdlU2hhcGVOYW1lIjpudWxsLCJJbnNpZGVQZXJjZW50YWdlU2hhcGVOYW1lIjpudWxsfSx7IlRhc2tJZCI6ImFmZjRmODU1LTU0ZWMtNGI0Ny1hYTRmLTk1ZjdiZjgyZGE0NSIsIlRpdGxlU2hhcGVOYW1lIjoiVGV4dEJveCAzODgyMCIsIkR1cmF0aW9uVGV4dFNoYXBlTmFtZSI6IlRleHRCb3ggMzg4MzMiLCJTZWdtZW50U2hhcGVOYW1lIjoiUm91bmRlZCBSZWN0YW5nbGUgMzg4MTUiLCJWZXJ0aWNhbExlZnRDb25uZWN0b3JTaGFwZU5hbWUiOiJTdHJhaWdodCBDb25uZWN0b3IgMzg4NDEiLCJWZXJ0aWNhbFJpZ2h0Q29ubmVjdG9yU2hhcGVOYW1lIjoiU3RyYWlnaHQgQ29ubmVjdG9yIDM4ODQ0IiwiSG9yaXpvbnRhbENvbm5lY3RvclNoYXBlTmFtZSI6IlN0cmFpZ2h0IENvbm5lY3RvciAzODgzOCIsIkxlZnREYXRlU2hhcGVOYW1lIjoiVGV4dEJveCAzODgyOCIsIlJpZ2h0RGF0ZVNoYXBlTmFtZSI6IlRleHRCb3ggMzg4MjUiLCJPdXRzaWRlUGVyY2VudGFnZVNoYXBlTmFtZSI6bnVsbCwiSW5zaWRlUGVyY2VudGFnZVNoYXBlTmFtZSI6bnVsbH0seyJUYXNrSWQiOiJhYzQ0Y2QwZS1iMjJjLTQ3MzAtODE4Mi1hMzg4NjExYjljMDEiLCJUaXRsZVNoYXBlTmFtZSI6IlRleHRCb3ggMzg4NTQiLCJEdXJhdGlvblRleHRTaGFwZU5hbWUiOiJUZXh0Qm94IDM4ODY3IiwiU2VnbWVudFNoYXBlTmFtZSI6IlJvdW5kZWQgUmVjdGFuZ2xlIDM4ODQ5IiwiVmVydGljYWxMZWZ0Q29ubmVjdG9yU2hhcGVOYW1lIjoiU3RyYWlnaHQgQ29ubmVjdG9yIDM4ODc1IiwiVmVydGljYWxSaWdodENvbm5lY3RvclNoYXBlTmFtZSI6IlN0cmFpZ2h0IENvbm5lY3RvciAzODg3OCIsIkhvcml6b250YWxDb25uZWN0b3JTaGFwZU5hbWUiOiJTdHJhaWdodCBDb25uZWN0b3IgMzg4NzEiLCJMZWZ0RGF0ZVNoYXBlTmFtZSI6IlRleHRCb3ggMzg4NjIiLCJSaWdodERhdGVTaGFwZU5hbWUiOiJUZXh0Qm94IDM4ODU5IiwiT3V0c2lkZVBlcmNlbnRhZ2VTaGFwZU5hbWUiOm51bGwsIkluc2lkZVBlcmNlbnRhZ2VTaGFwZU5hbWUiOm51bGx9XSwiVGltZWJhbmQiOnsiRWxhcHNlZFRpbWVTaGFwZU5hbWUiOiJSb3VuZGVkIFJlY3RhbmdsZSAzODI5MyIsIlRvZGF5TWFya2VyU2hhcGVOYW1lIjoiSXNvc2NlbGVzIFRyaWFuZ2xlIDM4Mjk1IiwiVG9kYXlNYXJrZXJUZXh0U2hhcGVOYW1lIjoiVGV4dEJveCAzODI5NyIsIlJpZ2h0RW5kQ2Fwc1NoYXBlTmFtZSI6bnVsbCwiTGVmdEVuZENhcHNTaGFwZU5hbWUiOm51bGwsIkVsYXBzZWRSZWN0YW5nbGVTaGFwZU5hbWUiOm51bGwsIlNlZ21lbnRTaGFwZXNOYW1lcyI6WyJSb3VuZGVkIFJlY3RhbmdsZSA4IiwiVGV4dEJveCAxMCIsIlRleHRCb3ggMTIiLCJUZXh0Qm94IDE3IiwiVGV4dEJveCAyMSIsIlRleHRCb3ggMjUiLCJUZXh0Qm94IDMwIiwiVGV4dEJveCAzODI3MyIsIlRleHRCb3ggMzgyNzciLCJUZXh0Qm94IDM4Mjc5IiwiVGV4dEJveCAzODI4MyIsIlRleHRCb3ggMzgyODciLCJUZXh0Qm94IDM4MjkxIl19fSwiRWRpdGlvbiI6MSwiSXNQbHVzRWRpdGlvbiI6dHJ1ZSwiQ3VsdHVyZUluZm9OYW1lIjoiZW4tVVMiLCJWZXJzaW9uIjoiMi4zLjAuMCIsIk9yaWdpbmFsQXNzZW1ibHlWZXJzaW9uIjoiMS4wMC4wMC4wMCIsIk1pbGVzdG9uZXMiOlt7IkRhdGVGb3JtYXQiOnsiRm9ybWF0U3RyaW5nIjoiTS9kL3l5eXkiLCJTZXBhcmF0b3IiOiIvIiwiVXNlSW50ZXJuYXRpb25hbERhdGVGb3JtYXQiOmZhbHNlfSwiSW50ZXJuYWxJZCI6ImUxOTk3ODMwLWU5MTYtNGYxOC05N2JhLTI3OTRhZGY1MjBmNSIsIlRpdGxlTGVmdCI6MTAzLjYyMzU0MywiVGl0bGVUb3AiOjEyNS42MTcxNjUsIlRpdGxlSGVpZ2h0IjoxMC42NjMxNSwiVGl0bGVUb3BJc0N1c3RvbSI6dHJ1ZSwiVGl0bGVXaWR0aCI6NDkuMjUsIkNvbG9yIjoiMjQ0LCAxNTcsIDAiLCJVdGNEYXRlIjoiMjAxNC0wNi0xOFQwMDowMDowMFoiLCJOb3RlIjpudWxsLCJUaXRsZSI6IiBLaWNrLU9mZiIsIlN0eWxlIjo3LCJCZWxvd1RpbWViYW5kIjp0cnVlLCJDdXN0b21TZXR0aW5ncyI6eyJJc0RhdGVWaXNpYmxlIjp0cnVlLCJUaXRsZUZvbnRTZXR0aW5ncyI6eyJGb250U2l6ZSI6MTEsIkZvbnROYW1lIjoiQ2VudHVyeSBHb3RoaWMiLCJJc0JvbGQiOnRydWUsIklzSXRhbGljIjpmYWxzZSwiSXNVbmRlcmxpbmVkIjpmYWxzZSwiRm9yZWdyb3VuZENvbG9yIjoiODAsIDgwLCA3MC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yNDQsIDE1NywgMCIsIklzVmlzaWJsZSI6ZmFsc2UsIkxpbmVXZWlnaHQiOjAuMX19LCJIaWRlRGF0ZSI6ZmFsc2UsIlNoYXBlVG9wIjo5Ny41LCJRdWlja1NoYXBlU2l6ZSI6MCwiSXNWaXNpYmxlIjp0cnVlfSx7IkRhdGVGb3JtYXQiOnsiRm9ybWF0U3RyaW5nIjoiTS9kL3l5eXkiLCJTZXBhcmF0b3IiOiIvIiwiVXNlSW50ZXJuYXRpb25hbERhdGVGb3JtYXQiOmZhbHNlfSwiSW50ZXJuYWxJZCI6ImYwM2RlNDllLTk4ZDMtNGIxNS04ODFjLWViYzI5ZWQzZWFmOSIsIlRpdGxlTGVmdCI6MjY2Ljg1MjIsIlRpdGxlVG9wIjo0NC42MTg2NiwiVGl0bGVIZWlnaHQiOjEwLjY2MzE1LCJUaXRsZVRvcElzQ3VzdG9tIjp0cnVlLCJUaXRsZVdpZHRoIjo2MC43NSwiQ29sb3IiOiIyMzIsIDc2LCAzNCIsIlV0Y0RhdGUiOiIyMDE0LTA5LTI0VDAwOjAwOjAwWiIsIk5vdGUiOm51bGwsIlRpdGxlIjoiVmFsaWRhdGlvbiAiLCJTdHlsZSI6NS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jYzZGE2MTIzLWZiNDMtNDE5YS1hODVlLWI4M2RmMGM5NzlmNiIsIlRpdGxlTGVmdCI6NDE4LjExMzg2MSwiVGl0bGVUb3AiOjM0LjA1NjYxMzksIlRpdGxlSGVpZ2h0IjoyMS4zMjYyMiwiVGl0bGVUb3BJc0N1c3RvbSI6ZmFsc2UsIlRpdGxlV2lkdGgiOjU4LjI1LCJDb2xvciI6IjIzMiwgNzYsIDM0IiwiVXRjRGF0ZSI6IjIwMTQtMTItMjBUMDA6MDA6MDBaIiwiTm90ZSI6bnVsbCwiVGl0bGUiOiJNaW5pbWFsIFByb3RvdHlwZSAiLCJTdHlsZSI6Ny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mM1ZjBiMGFhLWRmZGMtNDg4ZC04OGU4LTExYTExMTZhYzFjNyIsIlRpdGxlTGVmdCI6NTkzLjMwMjA2MywiVGl0bGVUb3AiOjM0LjA1NjYxMzksIlRpdGxlSGVpZ2h0IjoyMS4zMjYyMiwiVGl0bGVUb3BJc0N1c3RvbSI6dHJ1ZSwiVGl0bGVXaWR0aCI6NTkuNjI1MDQsIkNvbG9yIjoiMjMyLCA3NiwgMzQiLCJVdGNEYXRlIjoiMjAxNS0wNC0wMVQwMDowMDowMFoiLCJOb3RlIjpudWxsLCJUaXRsZSI6IkludGVncmF0ZWQgUHJvdG90eXBlIiwiU3R5bGUiOjcsIkJlbG93VGltZWJhbmQiOmZhbHNlLCJDdXN0b21TZXR0aW5ncyI6eyJJc0RhdGVWaXNpYmxlIjp0cnVlLCJUaXRsZUZvbnRTZXR0aW5ncyI6eyJGb250U2l6ZSI6MTEsIkZvbnROYW1lIjoiQ2VudHVyeSBHb3RoaWMiLCJJc0JvbGQiOmZhbHNlLCJJc0l0YWxpYyI6ZmFsc2UsIklzVW5kZXJsaW5lZCI6ZmFsc2UsIkZvcmVncm91bmRDb2xvciI6IjI1NSwgMTMyLCAzOSIsIkJhY2tDb2xvciI6bnVsbH0sIkRhdGVGb250U2V0dGluZ3MiOnsiRm9udFNpemUiOjEwLCJGb250TmFtZSI6IkNlbnR1cnkgR290aGljIiwiSXNCb2xkIjpmYWxzZSwiSXNJdGFsaWMiOmZhbHNlLCJJc1VuZGVybGluZWQiOmZhbHNlLCJGb3JlZ3JvdW5kQ29sb3IiOiI4MCwgODAsIDcwIiwiQmFja0NvbG9yIjpudWxsfSwiQ29ubmVjdG9yU2V0dGluZ3MiOnsiQ29sb3IiOiIyMzIsIDc2LCAzNCIsIklzVmlzaWJsZSI6ZmFsc2UsIkxpbmVXZWlnaHQiOjAuMX19LCJIaWRlRGF0ZSI6ZmFsc2UsIlNoYXBlVG9wIjo0MjEuNSwiUXVpY2tTaGFwZVNpemUiOjAsIklzVmlzaWJsZSI6dHJ1ZX0seyJEYXRlRm9ybWF0Ijp7IkZvcm1hdFN0cmluZyI6Ik0vZC95eXl5IiwiU2VwYXJhdG9yIjoiLyIsIlVzZUludGVybmF0aW9uYWxEYXRlRm9ybWF0IjpmYWxzZX0sIkludGVybmFsSWQiOiJkYmI1MGY1Ni0zM2JmLTQ0M2YtOTI0YS05YjJhNmMxOTRiZjkiLCJUaXRsZUxlZnQiOjY3OS4wMTU3LCJUaXRsZVRvcCI6MjkuMzkzNDY1LCJUaXRsZUhlaWdodCI6MTAuNjYzMTUsIlRpdGxlVG9wSXNDdXN0b20iOnRydWUsIlRpdGxlV2lkdGgiOjYwLjYyNTA0LCJDb2xvciI6IjE0NiwgMjA4LCA4MCIsIlV0Y0RhdGUiOiIyMDE1LTA1LTIxVDAwOjAwOjAwWiIsIk5vdGUiOm51bGwsIlRpdGxlIjoiSW50ZWdyYXRpb24iLCJTdHlsZSI6NSwiQmVsb3dUaW1lYmFuZCI6ZmFsc2UsIkN1c3RvbVNldHRpbmdzIjp7IklzRGF0ZVZpc2libGUiOnRydWUsIlRpdGxlRm9udFNldHRpbmdzIjp7IkZvbnRTaXplIjoxMSwiRm9udE5hbWUiOiJDZW50dXJ5IEdvdGhpYyIsIklzQm9sZCI6dHJ1ZSwiSXNJdGFsaWMiOnRydWUsIklzVW5kZXJsaW5lZCI6dHJ1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kJsYWNrIiwiSXNWaXNpYmxlIjpmYWxzZSwiTGluZVdlaWdodCI6MC4xfX0sIkhpZGVEYXRlIjpmYWxzZSwiU2hhcGVUb3AiOjcwLjUsIlF1aWNrU2hhcGVTaXplIjowLCJJc1Zpc2libGUiOnRydWV9LHsiRGF0ZUZvcm1hdCI6eyJGb3JtYXRTdHJpbmciOiJNL2QveXl5eSIsIlNlcGFyYXRvciI6Ii8iLCJVc2VJbnRlcm5hdGlvbmFsRGF0ZUZvcm1hdCI6ZmFsc2V9LCJJbnRlcm5hbElkIjoiZDg2ZTE1MmEtMjc5MC00NTg4LWFhNjItOTQ3NzllMWRmYmU5IiwiVGl0bGVMZWZ0Ijo4MDAuODc2NSwiVGl0bGVUb3AiOjEyNS42MTcxNjUsIlRpdGxlSGVpZ2h0IjoxMC42NjMxNSwiVGl0bGVUb3BJc0N1c3RvbSI6dHJ1ZSwiVGl0bGVXaWR0aCI6NjEuNzUsIkNvbG9yIjoiMjQ0LCAxNTcsIDAiLCJVdGNEYXRlIjoiMjAxNS0wNy0zMVQwMDowMDowMFoiLCJOb3RlIjpudWxsLCJUaXRsZSI6IlN1Ym1pc3Npb24iLCJTdHlsZSI6NywiQmVsb3dUaW1lYmFuZCI6dHJ1ZSwiQ3VzdG9tU2V0dGluZ3MiOnsiSXNEYXRlVmlzaWJsZSI6dHJ1ZSwiVGl0bGVGb250U2V0dGluZ3MiOnsiRm9udFNpemUiOjExLCJGb250TmFtZSI6IkNlbnR1cnkgR290aGljIiwiSXNCb2xkIjp0cnVlLCJJc0l0YWxpYyI6ZmFsc2UsIklzVW5kZXJsaW5lZCI6ZmFsc2UsIkZvcmVncm91bmRDb2xvciI6IjgwLCA4MCwgNzAiLCJCYWNrQ29sb3IiOm51bGx9LCJEYXRlRm9udFNldHRpbmdzIjp7IkZvbnRTaXplIjoxMCwiRm9udE5hbWUiOiJDZW50dXJ5IEdvdGhpYyIsIklzQm9sZCI6ZmFsc2UsIklzSXRhbGljIjpmYWxzZSwiSXNVbmRlcmxpbmVkIjpmYWxzZSwiRm9yZWdyb3VuZENvbG9yIjoiMTc4LCAzOCwgMCIsIkJhY2tDb2xvciI6bnVsbH0sIkNvbm5lY3RvclNldHRpbmdzIjp7IkNvbG9yIjoiMjQ0LCAxNTcsIDAiLCJJc1Zpc2libGUiOmZhbHNlLCJMaW5lV2VpZ2h0IjowLjF9fSwiSGlkZURhdGUiOmZhbHNlLCJTaGFwZVRvcCI6OTcuNSwiUXVpY2tTaGFwZVNpemUiOjAsIklzVmlzaWJsZSI6dHJ1ZX1dLCJUaW1lTGluZVR5cGUiOjIsIlRhc2tzIjpbeyJEdXJhdGlvblZhbHVlIjoyNy4wLCJEdXJhdGlvbkZvcm1hdCI6MCwiSW50ZXJuYWxJZCI6ImYzYzc3MGQ4LWE2YTItNDIzOC1hNTdiLTM3M2VmOTk4NDU1MCIsIkluZGV4IjoxLCJDb2xvciI6IjgwLCA4MCwgNzAiLCJVdGNTdGFydERhdGUiOiIyMDE0LTA2LTI1VDAwOjAwOjAwWiIsIk5vdGUiOm51bGwsIlV0Y0VuZERhdGUiOiIyMDE0LTA3LTIxVDAwOjAwOjAwWiIsIlRpdGxlIjoiUmVxdWlyZW1lbnRzIiwiU2hhcGUiOjEsIkN1c3RvbVNldHRpbmdzIjp7IlRpdGxlV2lkdGgiOjY3LjAyMzI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1LjAsIkR1cmF0aW9uRm9ybWF0IjowLCJJbnRlcm5hbElkIjoiYzNkNjg1ZDUtYWU4NS00ZmIxLTg1OTItNWU1MjdlNTM0ZjI4IiwiSW5kZXgiOjIsIkNvbG9yIjoiMTc4LCAzOCwgMCIsIlV0Y1N0YXJ0RGF0ZSI6IjIwMTQtMDctMDVUMDA6MDA6MDBaIiwiTm90ZSI6bnVsbCwiVXRjRW5kRGF0ZSI6IjIwMTQtMDgtMDhUMDA6MDA6MDBaIiwiVGl0bGUiOiJWYWxpZGF0aW9uICIsIlNoYXBlIjoxLCJDdXN0b21TZXR0aW5ncyI6eyJUaXRsZVdpZHRoIjo2Mi42MzA3ODY5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5LjAsIkR1cmF0aW9uRm9ybWF0IjowLCJJbnRlcm5hbElkIjoiYTUyMTc4M2MtZjMwOC00MzEzLWFmNzYtMGNkOWMyOTIzZTNjIiwiSW5kZXgiOjMsIkNvbG9yIjoiODAsIDgwLCA3MCIsIlV0Y1N0YXJ0RGF0ZSI6IjIwMTQtMDctMjVUMDA6MDA6MDBaIiwiTm90ZSI6bnVsbCwiVXRjRW5kRGF0ZSI6IjIwMTQtMDktMDFUMDA6MDA6MDBaIiwiVGl0bGUiOiJEYXRhIEFuYWx5c2lzIiwiU2hhcGUiOjEsIkN1c3RvbVNldHRpbmdzIjp7IlRpdGxlV2lkdGgiOjc0LjM2OTIx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mYWxz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C4wLCJEdXJhdGlvbkZvcm1hdCI6MCwiSW50ZXJuYWxJZCI6IjljZGU2ZDVkLTMwN2ItNGRmNy1iMTQ2LTQyNDhjYWI3ZmVmNiIsIkluZGV4Ijo0LCJDb2xvciI6IjE3OCwgMzgsIDAiLCJVdGNTdGFydERhdGUiOiIyMDE0LTA4LTExVDAwOjAwOjAwWiIsIk5vdGUiOm51bGwsIlV0Y0VuZERhdGUiOiIyMDE0LTA5LTEzVDAwOjAwOjAwWiIsIlRpdGxlIjoiQXJjaGl0ZWN0dXJhbCBSZXZpZXciLCJTaGFwZSI6MSwiQ3VzdG9tU2V0dGluZ3MiOnsiVGl0bGVXaWR0aCI6MTA4LjE5NjM4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0Mi4wLCJEdXJhdGlvbkZvcm1hdCI6MCwiSW50ZXJuYWxJZCI6IjZhNmU3MTQ5LTY2MWMtNGQ5OC1hZTIyLWI5YTg0YTIwYzBjZCIsIkluZGV4Ijo1LCJDb2xvciI6IjgwLCA4MCwgNzAiLCJVdGNTdGFydERhdGUiOiIyMDE0LTA4LTI1VDAwOjAwOjAwWiIsIk5vdGUiOm51bGwsIlV0Y0VuZERhdGUiOiIyMDE0LTEwLTA1VDAwOjAwOjAwWiIsIlRpdGxlIjoiU3lzdGVtIERlc2lnbiIsIlNoYXBlIjoxLCJDdXN0b21TZXR0aW5ncyI6eyJUaXRsZVdpZHRoIjo3OS42NzA0Ny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ZmFsc2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zguMCwiRHVyYXRpb25Gb3JtYXQiOjAsIkludGVybmFsSWQiOiJkYjUyODIwZS04OTYyLTRjMmYtYTQwNi04NzZkYWI5YjM2NjAiLCJJbmRleCI6NiwiQ29sb3IiOiIxNzgsIDM4LCAwIiwiVXRjU3RhcnREYXRlIjoiMjAxNC0wOS0wN1QwMDowMDowMFoiLCJOb3RlIjpudWxsLCJVdGNFbmREYXRlIjoiMjAxNC0xMC0xNFQwMDowMDowMFoiLCJUaXRsZSI6IkRhdGFiYXNlIiwiU2hhcGUiOjEsIkN1c3RvbVNldHRpbmdzIjp7IlRpdGxlV2lkdGgiOjQ5LjIyNjA2Mjg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2LjAsIkR1cmF0aW9uRm9ybWF0IjowLCJJbnRlcm5hbElkIjoiMzZmNzgxOGQtMDFhMS00MGI1LTg3MTYtYTBlZWE0OTcyNDI1IiwiSW5kZXgiOjcsIkNvbG9yIjoiODAsIDgwLCA3MCIsIlV0Y1N0YXJ0RGF0ZSI6IjIwMTQtMDktMjVUMDA6MDA6MDBaIiwiTm90ZSI6bnVsbCwiVXRjRW5kRGF0ZSI6IjIwMTQtMTAtMjBUMDA6MDA6MDBaIiwiVGl0bGUiOiJEYXRhIEltcHJvdmUiLCJTaGFwZSI6MSwiQ3VzdG9tU2V0dGluZ3MiOnsiVGl0bGVXaWR0aCI6NjguMDMyOTk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NjMuMCwiRHVyYXRpb25Gb3JtYXQiOjAsIkludGVybmFsSWQiOiJkYmM1MDMxOC03NDNmLTRkNmItYTk5NS1mYjNlN2I0MTg3ZDciLCJJbmRleCI6OCwiQ29sb3IiOiIxNzgsIDM4LCAwIiwiVXRjU3RhcnREYXRlIjoiMjAxNC0xMC0xNVQwMDowMDowMFoiLCJOb3RlIjpudWxsLCJVdGNFbmREYXRlIjoiMjAxNC0xMi0xNlQwMDowMDowMFoiLCJUaXRsZSI6IkNvZGluZyIsIlNoYXBlIjoxLCJDdXN0b21TZXR0aW5ncyI6eyJUaXRsZVdpZHRoIjo0NS41OTA5NDYy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wLjAsIkR1cmF0aW9uRm9ybWF0IjowLCJJbnRlcm5hbElkIjoiNTBkZjRhZGQtYTI5YS00OTRjLWJlMGUtOWU4NDY4NjU5ODZiIiwiSW5kZXgiOjksIkNvbG9yIjoiODAsIDgwLCA3MCIsIlV0Y1N0YXJ0RGF0ZSI6IjIwMTQtMTItMTJUMDA6MDA6MDBaIiwiTm90ZSI6bnVsbCwiVXRjRW5kRGF0ZSI6IjIwMTQtMTItMzFUMDA6MDA6MDBaIiwiVGl0bGUiOiJXZWJzaXRlIFRlc3RpbmciLCJTaGFwZSI6MSwiQ3VzdG9tU2V0dGluZ3MiOnsiVGl0bGVXaWR0aCI6ODYuNzM4O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ViOTU0Mjc1LWM1YjUtNGJlNS05MGJlLWUzZDE3YjBjZThhMyIsIkluZGV4IjoxMCwiQ29sb3IiOiIxNzgsIDM4LCAwIiwiVXRjU3RhcnREYXRlIjoiMjAxNS0wMS0wMlQwMDowMDowMFoiLCJOb3RlIjpudWxsLCJVdGNFbmREYXRlIjoiMjAxNS0wMi0wNlQwMDowMDowMFoiLCJUaXRsZSI6Ik9ubGluZSBUZXN0aW5nICIsIlNoYXBlIjoxLCJDdXN0b21TZXR0aW5ncyI6eyJUaXRsZVdpZHRoIjo4MS41NjM4Ni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4NS4wLCJEdXJhdGlvbkZvcm1hdCI6MCwiSW50ZXJuYWxJZCI6IjdlZTkzNjdkLTgzZTctNDMxMi1hZGFhLTZkNGJjZjIyMmY3NSIsIkluZGV4IjoxMSwiQ29sb3IiOiI4MCwgODAsIDcwIiwiVXRjU3RhcnREYXRlIjoiMjAxNS0wMS0xNVQwMDowMDowMFoiLCJOb3RlIjpudWxsLCJVdGNFbmREYXRlIjoiMjAxNS0wNC0wOVQwMDowMDowMFoiLCJUaXRsZSI6IkNvZGluZyIsIlNoYXBlIjoxLCJDdXN0b21TZXR0aW5ncyI6eyJUaXRsZVdpZHRoIjozNi4wOTkxMzI1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1LjAsIkR1cmF0aW9uRm9ybWF0IjowLCJJbnRlcm5hbElkIjoiZTViNjJkNjgtNGRhZi00YzgyLTgxN2UtNjRiMWVlNzM5NGFjIiwiSW5kZXgiOjEyLCJDb2xvciI6IjE3OCwgMzgsIDAiLCJVdGNTdGFydERhdGUiOiIyMDE1LTAzLTI1VDAwOjAwOjAwWiIsIk5vdGUiOm51bGwsIlV0Y0VuZERhdGUiOiIyMDE1LTA0LTE4VDAwOjAwOjAwWiIsIlRpdGxlIjoiU3lzdGVtIFRlc3RpbmcgIiwiU2hhcGUiOjEsIkN1c3RvbVNldHRpbmdzIjp7IlRpdGxlV2lkdGgiOjcyLjU3Njk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Dk0NTcyOGUtOTZlOC00NDUzLTliM2MtMDE4YzJiZThhODY5IiwiSW5kZXgiOjEzLCJDb2xvciI6IjgwLCA4MCwgNzAiLCJVdGNTdGFydERhdGUiOiIyMDE1LTA0LTAxVDAwOjAwOjAwWiIsIk5vdGUiOm51bGwsIlV0Y0VuZERhdGUiOiIyMDE1LTA1LTAyVDAwOjAwOjAwWiIsIlRpdGxlIjoiU3RhYmlsaXphdGlvbiAiLCJTaGFwZSI6MSwiQ3VzdG9tU2V0dGluZ3MiOnsiVGl0bGVXaWR0aCI6NzEuOTcx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M5YjhiNDljLTQzODMtNDY4My1iNGFhLTE0YjY1NjYyOTY4NiIsIkluZGV4IjoxNCwiQ29sb3IiOiIxNzgsIDM4LCAwIiwiVXRjU3RhcnREYXRlIjoiMjAxNS0wNC0xOFQwMDowMDowMFoiLCJOb3RlIjpudWxsLCJVdGNFbmREYXRlIjoiMjAxNS0wNS0yM1QwMDowMDowMFoiLCJUaXRsZSI6IlBlcmZvcm1hbmNlIEVuaGFuY2luZyIsIlNoYXBlIjoxLCJDdXN0b21TZXR0aW5ncyI6eyJUaXRsZVdpZHRoIjoxMjEuODI4MTg2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TBiZjU2OWMtNjc4NS00MjI1LWEzN2QtM2VmODYzOWQxMmUxIiwiSW5kZXgiOjE1LCJDb2xvciI6IjgwLCA4MCwgNzAiLCJVdGNTdGFydERhdGUiOiIyMDE1LTA1LTMwVDAwOjAwOjAwWiIsIk5vdGUiOm51bGwsIlV0Y0VuZERhdGUiOiIyMDE1LTA2LTMwVDAwOjAwOjAwWiIsIlRpdGxlIjoiSW50ZWdyYXRpb24gd2l0aCBXZWJzaXRlIiwiU2hhcGUiOjEsIkN1c3RvbVNldHRpbmdzIjp7IlRpdGxlV2lkdGgiOjE4MC4wLCJUaXRsZUZvbnRTZXR0aW5ncyI6eyJGb250U2l6ZSI6MTAsIkZvbnROYW1lIjoiQ2VudHVyeSBHb3RoaWMiLCJJc0JvbGQiOnRydWUsIklzSXRhbGljIjpmYWxzZSwiSXNVbmRlcmxpbmVkIjpmYWxzZSwiRm9yZWdyb3VuZENvbG9yIjoiMTgyLCA3MywgMzg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zLjB9LCJIb3Jpem9udGFsQ29ubmVjdG9yU2V0dGluZ3MiOnsiQ29sb3IiOiIyMzgsIDIzNiwgMjI1IiwiSXNWaXNpYmxlIjp0cnVlLCJMaW5lV2VpZ2h0IjozLjB9LCJUYXNrU2hhcGVCb3JkZXJTZXR0aW5ncyI6eyJDb2xvciI6IlJlZCIsIkxpbmVXZWlnaHQiOjAuMH0sIlNtYXJ0VGl0bGVGb3JlZ3JvdW5kIjoiODAsIDgwLCA3MCIsIlNtYXJ0VGl0bGVGb3JlZ3JvdW5kSXNBY3RpdmUiOmZhbHN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MC4wLCJEdXJhdGlvbkZvcm1hdCI6MCwiSW50ZXJuYWxJZCI6ImMwYzA1NWFkLTE3MjYtNGZkYy1iZjIxLTNjZjc2MmI0NDcwZCIsIkluZGV4IjoxNiwiQ29sb3IiOiIxNzgsIDM4LCAwIiwiVXRjU3RhcnREYXRlIjoiMjAxNS0wNi0xNFQwMDowMDowMFoiLCJOb3RlIjpudWxsLCJVdGNFbmREYXRlIjoiMjAxNS0wNy0wM1QwMDowMDowMFoiLCJUaXRsZSI6IlVzZXIgQWNjZXB0YW5jZSBUZXN0aW5nICIsIlNoYXBlIjoxLCJDdXN0b21TZXR0aW5ncyI6eyJUaXRsZVdpZHRoIjoxMjAuMC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NC4wLCJEdXJhdGlvbkZvcm1hdCI6MCwiSW50ZXJuYWxJZCI6ImFmZjRmODU1LTU0ZWMtNGI0Ny1hYTRmLTk1ZjdiZjgyZGE0NSIsIkluZGV4IjoxNywiQ29sb3IiOiI4MCwgODAsIDcwIiwiVXRjU3RhcnREYXRlIjoiMjAxNS0wNy0wMlQwMDowMDowMFoiLCJOb3RlIjpudWxsLCJVdGNFbmREYXRlIjoiMjAxNS0wNy0yNVQwMDowMDowMFoiLCJUaXRsZSI6IkRvY3VtZW50YXRpb24gIiwiU2hhcGUiOjEsIkN1c3RvbVNldHRpbmdzIjp7IlRpdGxlV2lkdGgiOjgwLjQwMjU5NTU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jEuMCwiRHVyYXRpb25Gb3JtYXQiOjAsIkludGVybmFsSWQiOiJhYzQ0Y2QwZS1iMjJjLTQ3MzAtODE4Mi1hMzg4NjExYjljMDEiLCJJbmRleCI6MTgsIkNvbG9yIjoiMTc4LCAzOCwgMCIsIlV0Y1N0YXJ0RGF0ZSI6IjIwMTUtMDctMTBUMDA6MDA6MDBaIiwiTm90ZSI6bnVsbCwiVXRjRW5kRGF0ZSI6IjIwMTUtMDctMzBUMDA6MDA6MDBaIiwiVGl0bGUiOiJTdGFnZSAxIFN1Ym1pc3Npb24iLCJTaGFwZSI6MSwiQ3VzdG9tU2V0dGluZ3MiOnsiVGl0bGVXaWR0aCI6OTMuMDI0NzMsIlRpdGxlRm9udFNldHRpbmdzIjp7IkZvbnRTaXplIjoxMCwiRm9udE5hbWUiOiJDZW50dXJ5IEdvdGhpYyIsIklzQm9sZCI6dHJ1ZSwiSXNJdGFsaWMiOnRydWUsIklzVW5kZXJsaW5lZCI6dHJ1ZSwiRm9yZWdyb3VuZENvbG9yIjoiMTc4LCAzOCwg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ZmFsc2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V0sIlN0eWxlIjp7IlRpbWVsaW5lU2V0dGluZ3MiOnsiVG9kYXlNYXJrZXJDb2xvciI6IjE4MiwgNzMsIDM4IiwiVG9kYXlNYXJrZXJGb250U2V0dGluZ3MiOnsiRm9udFNpemUiOjEwLCJGb250TmFtZSI6IkNlbnR1cnkgR290aGljIiwiSXNCb2xkIjpmYWxzZSwiSXNJdGFsaWMiOmZhbHNlLCJJc1VuZGVybGluZWQiOmZhbHNlLCJGb3JlZ3JvdW5kQ29sb3IiOiIwLCAwLCAwIiwiQmFja0NvbG9yIjpudWxsfSwiU3RhcnRZZWFyRm9udCI6eyJGb250U2l6ZSI6MTgsIkZvbnROYW1lIjoiQ2FsaWJyaSIsIklzQm9sZCI6dHJ1ZSwiSXNJdGFsaWMiOmZhbHNlLCJJc1VuZGVybGluZWQiOmZhbHNlLCJGb3JlZ3JvdW5kQ29sb3IiOiJPcmFuZ2VSZWQiLCJCYWNrQ29sb3IiOm51bGx9LCJFbmRZZWFyRm9udCI6eyJGb250U2l6ZSI6MTgsIkZvbnROYW1lIjoiQ2FsaWJyaSIsIklzQm9sZCI6dHJ1ZSwiSXNJdGFsaWMiOmZhbHNlLCJJc1VuZGVybGluZWQiOmZhbHNlLCJGb3JlZ3JvdW5kQ29sb3IiOiJPcmFuZ2VSZWQiLCJCYWNrQ29sb3IiOm51bGx9LCJJc1RoaW4iOnRydWUsIkhhczNERWZmZWN0Ijp0cnVlLCJUaW1lYmFuZElzUm91bmRlZCI6dHJ1ZSwiVGltZWJhbmRDb2xvciI6IjE2NywgNDcsIDE0IiwiVGltZWJhbmRGb250U2V0dGluZ3MiOnsiRm9udFNpemUiOjEyLCJGb250TmFtZSI6IkNlbnR1cnkgR290aGljIiwiSXNCb2xkIjp0cnVlLCJJc0l0YWxpYyI6ZmFsc2UsIklzVW5kZXJsaW5lZCI6ZmFsc2UsIkZvcmVncm91bmRDb2xvciI6IldoaXRlIiwiQmFja0NvbG9yIjpudWxsfSwiRWxhcHNlZFRpbWVDb2xvciI6IjI1NSwgMTMyLCAzOSIsIkVsYXBzZWRUaW1lU3R5bGUiOjEsIlRvZGF5TWFya2VyUG9zaXRpb24iOjIsIkNhcHNQb3NpdGlvbiI6MH0sIkRlZmF1bHRNaWxlc3RvbmVTZXR0aW5ncyI6eyJGbGFnQ29ubmVjdG9yU2V0dGluZ3MiOnsiQ29sb3IiOiJCbGFjayIsIklzVmlzaWJsZSI6ZmFsc2UsIkxpbmVXZWlnaHQiOjAuMX0sIkRhdGVGb3JtYXQiOnsiRm9ybWF0U3RyaW5nIjoiTS9kL3l5eXkiLCJTZXBhcmF0b3IiOiIvIiwiVXNlSW50ZXJuYXRpb25hbERhdGVGb3JtYXQiOmZhbHNlfSwiSXNEYXRlVmlzaWJsZSI6dHJ1ZSwiVGl0bGVGb250U2V0dGluZ3MiOnsiRm9udFNpemUiOjExLCJGb250TmFtZSI6IkNlbnR1cnkgR290aGljIiwiSXNCb2xkIjpmYWxzZSwiSXNJdGFsaWMiOmZhbHNlLCJJc1VuZGVybGluZWQiOmZhbHNlLCJGb3JlZ3JvdW5kQ29sb3IiOiJCbGFjay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iLCJJc1Zpc2libGUiOmZhbHNlLCJMaW5lV2VpZ2h0IjowLjF9fSwiRGVmYXVsdFRhc2tTZXR0aW5ncyI6eyJEYXRlRm9udFNldHRpbmdzIjp7IkZvbnRTaXplIjo5LCJGb250TmFtZSI6IkNlbnR1cnkgR290aGljIiwiSXNCb2xkIjpmYWxzZSwiSXNJdGFsaWMiOmZhbHNlLCJJc1VuZGVybGluZWQiOmZhbHNlLCJGb3JlZ3JvdW5kQ29sb3IiOiIyMzIsIDc2LCAzNCIsIkJhY2tDb2xvciI6bnVsbH0sIlN0YXJ0RGF0ZUZvbnRTZXR0aW5ncyI6eyJGb250U2l6ZSI6MTIsIkZvbnROYW1lIjoiQ2FsaWJyaSIsIklzQm9sZCI6ZmFsc2UsIklzSXRhbGljIjpmYWxzZSwiSXNVbmRlcmxpbmVkIjpmYWxzZSwiRm9yZWdyb3VuZENvbG9yIjoiV2hpdGUiLCJCYWNrQ29sb3IiOm51bGx9LCJFbmREYXRlRm9udFNldHRpbmdzIjp7IkZvbnRTaXplIjoxMiwiRm9udE5hbWUiOiJDYWxpYnJpIiwiSXNCb2xkIjpmYWxzZSwiSXNJdGFsaWMiOmZhbHNlLCJJc1VuZGVybGluZWQiOmZhbHNlLCJGb3JlZ3JvdW5kQ29sb3IiOiJXaGl0ZSIsIkJhY2tDb2xvciI6bnVsbH0sIkR1cmF0aW9uRm9udFNldHRpbmdzIjp7IkZvbnRTaXplIjoxMCwiRm9udE5hbWUiOiJDYWxpYnJpIiwiSXNCb2xkIjpmYWxzZSwiSXNJdGFsaWMiOmZhbHNlLCJJc1VuZGVybGluZWQiOmZhbHNlLCJGb3JlZ3JvdW5kQ29sb3IiOiIxOTIsIDgwLCA3NyIsIkJhY2tDb2xvciI6bnVsbH0sIklzVGhpY2siOmZhbHNlLCJUYXNrc0Fib3ZlVGltZWJhbmQiOmZhbHNlLCJEYXRlRm9ybWF0Ijp7IkZvcm1hdFN0cmluZyI6Ik0vZCIsIlNlcGFyYXRvciI6Ii8iLCJVc2VJbnRlcm5hdGlvbmFsRGF0ZUZvcm1hdCI6ZmFsc2V9LCJEdXJhdGlvblBvc2l0aW9uIjoxLCJEdXJhdGlvbkZvcm1hdCI6MCwiUmVuZGVyTG9uZ1Rhc2tUaXRsZUFib3ZlVGFza1NoYXBlIjpmYWxzZSwiSXNIb3Jpem9udGFsQ29ubmVjdG9yVmlzaWJsZSI6dHJ1ZSwiSXNWZXJ0aWNhbENvbm5lY3RvclZpc2libGUiOnRydWUsIkludGVydmFsVGV4dFBvc2l0aW9uIjozLCJJbnRlcnZhbERhdGVQb3NpdGlvbiI6MiwiVGl0bGVXaWR0aCI6bnVsbCwiVGl0bGVGb250U2V0dGluZ3MiOnsiRm9udFNpemUiOjEwLCJGb250TmFtZSI6IkNlbnR1cnkgR290aGljIiwiSXNCb2xkIjpmYWxzZSwiSXNJdGFsaWMiOmZhbHNlLCJJc1VuZGVybGluZWQiOmZhbHNlLCJGb3JlZ3JvdW5kQ29sb3IiOiI4MCwgODAsIDcw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iLCJTbWFydFRpdGxlRm9yZWdyb3VuZElzQWN0aXZlIjpmYWxzZSwiU21hcnREdXJhdGlvbkZvcmVncm91bmQiOiIiLCJTbWFydER1cmF0aW9uRm9yZWdyb3VuZElzQWN0aXZlIjpmYWxzZSwiU21hcnREYXRlRm9yZWdyb3VuZCI6I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NjYWxlU2V0dGluZ3MiOnsiRGF0ZUZvcm1hdCI6Ik1NTSIsIkludGVydmFsVHlwZSI6NSwiVXNlQXV0b21hdGljVGltZVNjYWxlIjp0cnVlLCJDdXN0b21UaW1lU2NhbGVVdGNTdGFydERhdGUiOiIyMDE0LTA2LTE4VDAwOjAwOjAwWiIsIkN1c3RvbVRpbWVTY2FsZVV0Y0VuZERhdGUiOiIyMDE1LTA3LTMxVDAwOjAwOjAwWiJ9fSwiVGltZWJhbmRWZXJ0aWNhbFBvc2l0aW9uIjp7IlF1aWNrUG9zaXRpb24iOjMsIlJlbGF0aXZlUG9zaXRpb24iOjE1LjAsIkFic29sdXRlUG9zaXRpb24iOjgxLjAsIlByZXZpb3VzQWJzb2x1dGVQb3NpdGlvbiI6ODEuMH19"/>
  <p:tag name="__MASTER" val="__part_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JSZW5kZXJpbmdPcHRpb25zIjp7Ik1pbGVzdG9uZXNPdmVybGFwcGluZ0hhbmRsaW5nT3B0aW9ucyI6MiwiVGFza3NXaXRoVGl0bGVzTG9uZ2VyVGhhblRoZVRhc2tTaGFwZURldGVjdGVkIjpmYWxzZX0sIlJlbmRlcmluZ01hcCI6eyJNaWxlc3RvbmVzIjpbeyJNaWxlc3RvbmVJZCI6ImQ4NmUxNTJhLTI3OTAtNDU4OC1hYTYyLTk0Nzc5ZTFkZmJlOSIsIlRpdGxlU2hhcGVOYW1lIjoiVGV4dEJveCAzODMwMyIsIkRhdGVTaGFwZU5hbWUiOiJUZXh0Qm94IDM4MzA2IiwiTWFya2VyU2hhcGVOYW1lIjoiQ2hldnJvbiAzODI5OSIsIkNvbm5lY3RvclNoYXBlTmFtZSI6IlN0cmFpZ2h0IENvbm5lY3RvciAzODMwOCJ9LHsiTWlsZXN0b25lSWQiOiJkYmI1MGY1Ni0zM2JmLTQ0M2YtOTI0YS05YjJhNmMxOTRiZjkiLCJUaXRsZVNoYXBlTmFtZSI6IlRleHRCb3ggMzgzMTQiLCJEYXRlU2hhcGVOYW1lIjoiVGV4dEJveCAzODMxNiIsIk1hcmtlclNoYXBlTmFtZSI6IkZsb3djaGFydDogTWFudWFsIE9wZXJhdGlvbiAzODMxMSIsIkNvbm5lY3RvclNoYXBlTmFtZSI6IlN0cmFpZ2h0IENvbm5lY3RvciAzODMxOSJ9LHsiTWlsZXN0b25lSWQiOiJjNWYwYjBhYS1kZmRjLTQ4OGQtODhlOC0xMWExMTE2YWMxYzciLCJUaXRsZVNoYXBlTmFtZSI6IlRleHRCb3ggMzgzMjQiLCJEYXRlU2hhcGVOYW1lIjoiVGV4dEJveCAzODMyNyIsIk1hcmtlclNoYXBlTmFtZSI6IkNoZXZyb24gMzgzMjIiLCJDb25uZWN0b3JTaGFwZU5hbWUiOiJTdHJhaWdodCBDb25uZWN0b3IgMzgzMzAifSx7Ik1pbGVzdG9uZUlkIjoiNjNkYTYxMjMtZmI0My00MTlhLWE4NWUtYjgzZGYwYzk3OWY2IiwiVGl0bGVTaGFwZU5hbWUiOiJUZXh0Qm94IDM4MzM0IiwiRGF0ZVNoYXBlTmFtZSI6IlRleHRCb3ggMzgzMzciLCJNYXJrZXJTaGFwZU5hbWUiOiJDaGV2cm9uIDM4MzMyIiwiQ29ubmVjdG9yU2hhcGVOYW1lIjpudWxsfSx7Ik1pbGVzdG9uZUlkIjoiZjAzZGU0OWUtOThkMy00YjE1LTg4MWMtZWJjMjllZDNlYWY5IiwiVGl0bGVTaGFwZU5hbWUiOiJUZXh0Qm94IDM4MzQyIiwiRGF0ZVNoYXBlTmFtZSI6IlRleHRCb3ggMzgzNDUiLCJNYXJrZXJTaGFwZU5hbWUiOiJGbG93Y2hhcnQ6IE1hbnVhbCBPcGVyYXRpb24gMzgzNDAiLCJDb25uZWN0b3JTaGFwZU5hbWUiOiJTdHJhaWdodCBDb25uZWN0b3IgMzgzNDcifSx7Ik1pbGVzdG9uZUlkIjoiZTE5OTc4MzAtZTkxNi00ZjE4LTk3YmEtMjc5NGFkZjUyMGY1IiwiVGl0bGVTaGFwZU5hbWUiOiJUZXh0Qm94IDM4MzUzIiwiRGF0ZVNoYXBlTmFtZSI6IlRleHRCb3ggMzgzNTYiLCJNYXJrZXJTaGFwZU5hbWUiOiJDaGV2cm9uIDM4MzUwIiwiQ29ubmVjdG9yU2hhcGVOYW1lIjoiU3RyYWlnaHQgQ29ubmVjdG9yIDM4MzU4In1dLCJUYXNrcyI6W3siVGFza0lkIjoiZjNjNzcwZDgtYTZhMi00MjM4LWE1N2ItMzczZWY5OTg0NTUwIiwiVGl0bGVTaGFwZU5hbWUiOiJUZXh0Qm94IDM4MzY2IiwiRHVyYXRpb25UZXh0U2hhcGVOYW1lIjoiVGV4dEJveCAzODM3NiIsIlNlZ21lbnRTaGFwZU5hbWUiOiJSb3VuZGVkIFJlY3RhbmdsZSAzODM2MiIsIlZlcnRpY2FsTGVmdENvbm5lY3RvclNoYXBlTmFtZSI6IlN0cmFpZ2h0IENvbm5lY3RvciAzODM4MyIsIlZlcnRpY2FsUmlnaHRDb25uZWN0b3JTaGFwZU5hbWUiOiJTdHJhaWdodCBDb25uZWN0b3IgMzgzODYiLCJIb3Jpem9udGFsQ29ubmVjdG9yU2hhcGVOYW1lIjoiU3RyYWlnaHQgQ29ubmVjdG9yIDM4MzgxIiwiTGVmdERhdGVTaGFwZU5hbWUiOiJUZXh0Qm94IDM4MzcyIiwiUmlnaHREYXRlU2hhcGVOYW1lIjoiVGV4dEJveCAzODM3MCIsIk91dHNpZGVQZXJjZW50YWdlU2hhcGVOYW1lIjpudWxsLCJJbnNpZGVQZXJjZW50YWdlU2hhcGVOYW1lIjpudWxsfSx7IlRhc2tJZCI6ImMzZDY4NWQ1LWFlODUtNGZiMS04NTkyLTVlNTI3ZTUzNGYyOCIsIlRpdGxlU2hhcGVOYW1lIjoiVGV4dEJveCAzODM5MyIsIkR1cmF0aW9uVGV4dFNoYXBlTmFtZSI6IlRleHRCb3ggMzg0MDQiLCJTZWdtZW50U2hhcGVOYW1lIjoiUm91bmRlZCBSZWN0YW5nbGUgMzgzODkiLCJWZXJ0aWNhbExlZnRDb25uZWN0b3JTaGFwZU5hbWUiOiJTdHJhaWdodCBDb25uZWN0b3IgMzg0MTAiLCJWZXJ0aWNhbFJpZ2h0Q29ubmVjdG9yU2hhcGVOYW1lIjoiU3RyYWlnaHQgQ29ubmVjdG9yIDM4NDEzIiwiSG9yaXpvbnRhbENvbm5lY3RvclNoYXBlTmFtZSI6IlN0cmFpZ2h0IENvbm5lY3RvciAzODQwNyIsIkxlZnREYXRlU2hhcGVOYW1lIjoiVGV4dEJveCAzODQwMCIsIlJpZ2h0RGF0ZVNoYXBlTmFtZSI6IlRleHRCb3ggMzgzOTciLCJPdXRzaWRlUGVyY2VudGFnZVNoYXBlTmFtZSI6bnVsbCwiSW5zaWRlUGVyY2VudGFnZVNoYXBlTmFtZSI6bnVsbH0seyJUYXNrSWQiOiJhNTIxNzgzYy1mMzA4LTQzMTMtYWY3Ni0wY2Q5YzI5MjNlM2MiLCJUaXRsZVNoYXBlTmFtZSI6IlRleHRCb3ggMzg0MjEiLCJEdXJhdGlvblRleHRTaGFwZU5hbWUiOiJUZXh0Qm94IDM4NDMxIiwiU2VnbWVudFNoYXBlTmFtZSI6IlJvdW5kZWQgUmVjdGFuZ2xlIDM4NDE3IiwiVmVydGljYWxMZWZ0Q29ubmVjdG9yU2hhcGVOYW1lIjoiU3RyYWlnaHQgQ29ubmVjdG9yIDM4NDM4IiwiVmVydGljYWxSaWdodENvbm5lY3RvclNoYXBlTmFtZSI6IlN0cmFpZ2h0IENvbm5lY3RvciAzODQ0MCIsIkhvcml6b250YWxDb25uZWN0b3JTaGFwZU5hbWUiOiJTdHJhaWdodCBDb25uZWN0b3IgMzg0MzUiLCJMZWZ0RGF0ZVNoYXBlTmFtZSI6IlRleHRCb3ggMzg0MjciLCJSaWdodERhdGVTaGFwZU5hbWUiOiJUZXh0Qm94IDM4NDI1IiwiT3V0c2lkZVBlcmNlbnRhZ2VTaGFwZU5hbWUiOm51bGwsIkluc2lkZVBlcmNlbnRhZ2VTaGFwZU5hbWUiOm51bGx9LHsiVGFza0lkIjoiOWNkZTZkNWQtMzA3Yi00ZGY3LWIxNDYtNDI0OGNhYjdmZWY2IiwiVGl0bGVTaGFwZU5hbWUiOiJUZXh0Qm94IDM4NDQ5IiwiRHVyYXRpb25UZXh0U2hhcGVOYW1lIjoiVGV4dEJveCAzODQ1OSIsIlNlZ21lbnRTaGFwZU5hbWUiOiJSb3VuZGVkIFJlY3RhbmdsZSAzODQ0NSIsIlZlcnRpY2FsTGVmdENvbm5lY3RvclNoYXBlTmFtZSI6IlN0cmFpZ2h0IENvbm5lY3RvciAzODQ2NiIsIlZlcnRpY2FsUmlnaHRDb25uZWN0b3JTaGFwZU5hbWUiOiJTdHJhaWdodCBDb25uZWN0b3IgMzg0NjgiLCJIb3Jpem9udGFsQ29ubmVjdG9yU2hhcGVOYW1lIjoiU3RyYWlnaHQgQ29ubmVjdG9yIDM4NDYzIiwiTGVmdERhdGVTaGFwZU5hbWUiOiJUZXh0Qm94IDM4NDU1IiwiUmlnaHREYXRlU2hhcGVOYW1lIjoiVGV4dEJveCAzODQ1MiIsIk91dHNpZGVQZXJjZW50YWdlU2hhcGVOYW1lIjpudWxsLCJJbnNpZGVQZXJjZW50YWdlU2hhcGVOYW1lIjpudWxsfSx7IlRhc2tJZCI6IjZhNmU3MTQ5LTY2MWMtNGQ5OC1hZTIyLWI5YTg0YTIwYzBjZCIsIlRpdGxlU2hhcGVOYW1lIjoiVGV4dEJveCAzODQ3NiIsIkR1cmF0aW9uVGV4dFNoYXBlTmFtZSI6IlRleHRCb3ggMzg0ODciLCJTZWdtZW50U2hhcGVOYW1lIjoiUm91bmRlZCBSZWN0YW5nbGUgMzg0NzIiLCJWZXJ0aWNhbExlZnRDb25uZWN0b3JTaGFwZU5hbWUiOiJTdHJhaWdodCBDb25uZWN0b3IgMzg0OTMiLCJWZXJ0aWNhbFJpZ2h0Q29ubmVjdG9yU2hhcGVOYW1lIjoiU3RyYWlnaHQgQ29ubmVjdG9yIDM4NDk1IiwiSG9yaXpvbnRhbENvbm5lY3RvclNoYXBlTmFtZSI6IlN0cmFpZ2h0IENvbm5lY3RvciAzODQ5MCIsIkxlZnREYXRlU2hhcGVOYW1lIjoiVGV4dEJveCAzODQ4MyIsIlJpZ2h0RGF0ZVNoYXBlTmFtZSI6IlRleHRCb3ggMzg0ODAiLCJPdXRzaWRlUGVyY2VudGFnZVNoYXBlTmFtZSI6bnVsbCwiSW5zaWRlUGVyY2VudGFnZVNoYXBlTmFtZSI6bnVsbH0seyJUYXNrSWQiOiJkYjUyODIwZS04OTYyLTRjMmYtYTQwNi04NzZkYWI5YjM2NjAiLCJUaXRsZVNoYXBlTmFtZSI6IlRleHRCb3ggMzg1MDMiLCJEdXJhdGlvblRleHRTaGFwZU5hbWUiOiJUZXh0Qm94IDM4NTE0IiwiU2VnbWVudFNoYXBlTmFtZSI6IlJvdW5kZWQgUmVjdGFuZ2xlIDM4NTAwIiwiVmVydGljYWxMZWZ0Q29ubmVjdG9yU2hhcGVOYW1lIjoiU3RyYWlnaHQgQ29ubmVjdG9yIDM4NTIxIiwiVmVydGljYWxSaWdodENvbm5lY3RvclNoYXBlTmFtZSI6IlN0cmFpZ2h0IENvbm5lY3RvciAzODUyMyIsIkhvcml6b250YWxDb25uZWN0b3JTaGFwZU5hbWUiOiJTdHJhaWdodCBDb25uZWN0b3IgMzg1MTgiLCJMZWZ0RGF0ZVNoYXBlTmFtZSI6IlRleHRCb3ggMzg1MTAiLCJSaWdodERhdGVTaGFwZU5hbWUiOiJUZXh0Qm94IDM4NTA3IiwiT3V0c2lkZVBlcmNlbnRhZ2VTaGFwZU5hbWUiOm51bGwsIkluc2lkZVBlcmNlbnRhZ2VTaGFwZU5hbWUiOm51bGx9LHsiVGFza0lkIjoiMzZmNzgxOGQtMDFhMS00MGI1LTg3MTYtYTBlZWE0OTcyNDI1IiwiVGl0bGVTaGFwZU5hbWUiOiJUZXh0Qm94IDM4NTMxIiwiRHVyYXRpb25UZXh0U2hhcGVOYW1lIjoiVGV4dEJveCAzODU0MSIsIlNlZ21lbnRTaGFwZU5hbWUiOiJSb3VuZGVkIFJlY3RhbmdsZSAzODUyNyIsIlZlcnRpY2FsTGVmdENvbm5lY3RvclNoYXBlTmFtZSI6IlN0cmFpZ2h0IENvbm5lY3RvciAzODU0OCIsIlZlcnRpY2FsUmlnaHRDb25uZWN0b3JTaGFwZU5hbWUiOiJTdHJhaWdodCBDb25uZWN0b3IgMzg1NTEiLCJIb3Jpem9udGFsQ29ubmVjdG9yU2hhcGVOYW1lIjoiU3RyYWlnaHQgQ29ubmVjdG9yIDM4NTQ1IiwiTGVmdERhdGVTaGFwZU5hbWUiOiJUZXh0Qm94IDM4NTM3IiwiUmlnaHREYXRlU2hhcGVOYW1lIjoiVGV4dEJveCAzODUzNSIsIk91dHNpZGVQZXJjZW50YWdlU2hhcGVOYW1lIjpudWxsLCJJbnNpZGVQZXJjZW50YWdlU2hhcGVOYW1lIjpudWxsfSx7IlRhc2tJZCI6ImRiYzUwMzE4LTc0M2YtNGQ2Yi1hOTk1LWZiM2U3YjQxODdkNyIsIlRpdGxlU2hhcGVOYW1lIjoiVGV4dEJveCAzODU1OCIsIkR1cmF0aW9uVGV4dFNoYXBlTmFtZSI6IlRleHRCb3ggMzg1NjkiLCJTZWdtZW50U2hhcGVOYW1lIjoiUm91bmRlZCBSZWN0YW5nbGUgMzg1NTQiLCJWZXJ0aWNhbExlZnRDb25uZWN0b3JTaGFwZU5hbWUiOiJTdHJhaWdodCBDb25uZWN0b3IgMzg1NzUiLCJWZXJ0aWNhbFJpZ2h0Q29ubmVjdG9yU2hhcGVOYW1lIjoiU3RyYWlnaHQgQ29ubmVjdG9yIDM4NTc4IiwiSG9yaXpvbnRhbENvbm5lY3RvclNoYXBlTmFtZSI6IlN0cmFpZ2h0IENvbm5lY3RvciAzODU3MyIsIkxlZnREYXRlU2hhcGVOYW1lIjoiVGV4dEJveCAzODU2NSIsIlJpZ2h0RGF0ZVNoYXBlTmFtZSI6IlRleHRCb3ggMzg1NjIiLCJPdXRzaWRlUGVyY2VudGFnZVNoYXBlTmFtZSI6bnVsbCwiSW5zaWRlUGVyY2VudGFnZVNoYXBlTmFtZSI6bnVsbH0seyJUYXNrSWQiOiI1MGRmNGFkZC1hMjlhLTQ5NGMtYmUwZS05ZTg0Njg2NTk4NmIiLCJUaXRsZVNoYXBlTmFtZSI6IlRleHRCb3ggMzg1ODYiLCJEdXJhdGlvblRleHRTaGFwZU5hbWUiOiJUZXh0Qm94IDM4NTk2IiwiU2VnbWVudFNoYXBlTmFtZSI6IlJvdW5kZWQgUmVjdGFuZ2xlIDM4NTgyIiwiVmVydGljYWxMZWZ0Q29ubmVjdG9yU2hhcGVOYW1lIjoiU3RyYWlnaHQgQ29ubmVjdG9yIDM4NjAzIiwiVmVydGljYWxSaWdodENvbm5lY3RvclNoYXBlTmFtZSI6IlN0cmFpZ2h0IENvbm5lY3RvciAzODYwNSIsIkhvcml6b250YWxDb25uZWN0b3JTaGFwZU5hbWUiOiJTdHJhaWdodCBDb25uZWN0b3IgMzg2MDAiLCJMZWZ0RGF0ZVNoYXBlTmFtZSI6IlRleHRCb3ggMzg1OTIiLCJSaWdodERhdGVTaGFwZU5hbWUiOiJUZXh0Qm94IDM4NTkwIiwiT3V0c2lkZVBlcmNlbnRhZ2VTaGFwZU5hbWUiOm51bGwsIkluc2lkZVBlcmNlbnRhZ2VTaGFwZU5hbWUiOm51bGx9LHsiVGFza0lkIjoiZWI5NTQyNzUtYzViNS00YmU1LTkwYmUtZTNkMTdiMGNlOGEzIiwiVGl0bGVTaGFwZU5hbWUiOiJUZXh0Qm94IDM4NjEzIiwiRHVyYXRpb25UZXh0U2hhcGVOYW1lIjoiVGV4dEJveCAzODYyNCIsIlNlZ21lbnRTaGFwZU5hbWUiOiJSb3VuZGVkIFJlY3RhbmdsZSAzODYwOSIsIlZlcnRpY2FsTGVmdENvbm5lY3RvclNoYXBlTmFtZSI6IlN0cmFpZ2h0IENvbm5lY3RvciAzODYzMCIsIlZlcnRpY2FsUmlnaHRDb25uZWN0b3JTaGFwZU5hbWUiOiJTdHJhaWdodCBDb25uZWN0b3IgMzg2MzMiLCJIb3Jpem9udGFsQ29ubmVjdG9yU2hhcGVOYW1lIjoiU3RyYWlnaHQgQ29ubmVjdG9yIDM4NjI4IiwiTGVmdERhdGVTaGFwZU5hbWUiOiJUZXh0Qm94IDM4NjIwIiwiUmlnaHREYXRlU2hhcGVOYW1lIjoiVGV4dEJveCAzODYxNyIsIk91dHNpZGVQZXJjZW50YWdlU2hhcGVOYW1lIjpudWxsLCJJbnNpZGVQZXJjZW50YWdlU2hhcGVOYW1lIjpudWxsfSx7IlRhc2tJZCI6IjdlZTkzNjdkLTgzZTctNDMxMi1hZGFhLTZkNGJjZjIyMmY3NSIsIlRpdGxlU2hhcGVOYW1lIjoiVGV4dEJveCAzODY0MSIsIkR1cmF0aW9uVGV4dFNoYXBlTmFtZSI6IlRleHRCb3ggMzg2NTIiLCJTZWdtZW50U2hhcGVOYW1lIjoiUm91bmRlZCBSZWN0YW5nbGUgMzg2MzciLCJWZXJ0aWNhbExlZnRDb25uZWN0b3JTaGFwZU5hbWUiOiJTdHJhaWdodCBDb25uZWN0b3IgMzg2NTgiLCJWZXJ0aWNhbFJpZ2h0Q29ubmVjdG9yU2hhcGVOYW1lIjoiU3RyYWlnaHQgQ29ubmVjdG9yIDM4NjYwIiwiSG9yaXpvbnRhbENvbm5lY3RvclNoYXBlTmFtZSI6IlN0cmFpZ2h0IENvbm5lY3RvciAzODY1NSIsIkxlZnREYXRlU2hhcGVOYW1lIjoiVGV4dEJveCAzODY0NyIsIlJpZ2h0RGF0ZVNoYXBlTmFtZSI6IlRleHRCb3ggMzg2NDQiLCJPdXRzaWRlUGVyY2VudGFnZVNoYXBlTmFtZSI6bnVsbCwiSW5zaWRlUGVyY2VudGFnZVNoYXBlTmFtZSI6bnVsbH0seyJUYXNrSWQiOiJlNWI2MmQ2OC00ZGFmLTRjODItODE3ZS02NGIxZWU3Mzk0YWMiLCJUaXRsZVNoYXBlTmFtZSI6IlRleHRCb3ggMzg2NjgiLCJEdXJhdGlvblRleHRTaGFwZU5hbWUiOiJUZXh0Qm94IDM4Njc4IiwiU2VnbWVudFNoYXBlTmFtZSI6IlJvdW5kZWQgUmVjdGFuZ2xlIDM4NjY0IiwiVmVydGljYWxMZWZ0Q29ubmVjdG9yU2hhcGVOYW1lIjoiU3RyYWlnaHQgQ29ubmVjdG9yIDM4Njg2IiwiVmVydGljYWxSaWdodENvbm5lY3RvclNoYXBlTmFtZSI6IlN0cmFpZ2h0IENvbm5lY3RvciAzODY4OCIsIkhvcml6b250YWxDb25uZWN0b3JTaGFwZU5hbWUiOiJTdHJhaWdodCBDb25uZWN0b3IgMzg2ODMiLCJMZWZ0RGF0ZVNoYXBlTmFtZSI6IlRleHRCb3ggMzg2NzUiLCJSaWdodERhdGVTaGFwZU5hbWUiOiJUZXh0Qm94IDM4NjcyIiwiT3V0c2lkZVBlcmNlbnRhZ2VTaGFwZU5hbWUiOm51bGwsIkluc2lkZVBlcmNlbnRhZ2VTaGFwZU5hbWUiOm51bGx9LHsiVGFza0lkIjoiZDk0NTcyOGUtOTZlOC00NDUzLTliM2MtMDE4YzJiZThhODY5IiwiVGl0bGVTaGFwZU5hbWUiOiJUZXh0Qm94IDM4Njk2IiwiRHVyYXRpb25UZXh0U2hhcGVOYW1lIjoiVGV4dEJveCAzODcwNiIsIlNlZ21lbnRTaGFwZU5hbWUiOiJSb3VuZGVkIFJlY3RhbmdsZSAzODY5MiIsIlZlcnRpY2FsTGVmdENvbm5lY3RvclNoYXBlTmFtZSI6IlN0cmFpZ2h0IENvbm5lY3RvciAzODcxMiIsIlZlcnRpY2FsUmlnaHRDb25uZWN0b3JTaGFwZU5hbWUiOiJTdHJhaWdodCBDb25uZWN0b3IgMzg3MTUiLCJIb3Jpem9udGFsQ29ubmVjdG9yU2hhcGVOYW1lIjoiU3RyYWlnaHQgQ29ubmVjdG9yIDM4NzEwIiwiTGVmdERhdGVTaGFwZU5hbWUiOiJUZXh0Qm94IDM4NzAyIiwiUmlnaHREYXRlU2hhcGVOYW1lIjoiVGV4dEJveCAzODY5OSIsIk91dHNpZGVQZXJjZW50YWdlU2hhcGVOYW1lIjpudWxsLCJJbnNpZGVQZXJjZW50YWdlU2hhcGVOYW1lIjpudWxsfSx7IlRhc2tJZCI6ImM5YjhiNDljLTQzODMtNDY4My1iNGFhLTE0YjY1NjYyOTY4NiIsIlRpdGxlU2hhcGVOYW1lIjoiVGV4dEJveCAzODcyMyIsIkR1cmF0aW9uVGV4dFNoYXBlTmFtZSI6IlRleHRCb3ggMzg3MzMiLCJTZWdtZW50U2hhcGVOYW1lIjoiUm91bmRlZCBSZWN0YW5nbGUgMzg3MjAiLCJWZXJ0aWNhbExlZnRDb25uZWN0b3JTaGFwZU5hbWUiOiJTdHJhaWdodCBDb25uZWN0b3IgMzg3NDAiLCJWZXJ0aWNhbFJpZ2h0Q29ubmVjdG9yU2hhcGVOYW1lIjoiU3RyYWlnaHQgQ29ubmVjdG9yIDM4NzQzIiwiSG9yaXpvbnRhbENvbm5lY3RvclNoYXBlTmFtZSI6IlN0cmFpZ2h0IENvbm5lY3RvciAzODczOCIsIkxlZnREYXRlU2hhcGVOYW1lIjoiVGV4dEJveCAzODczMCIsIlJpZ2h0RGF0ZVNoYXBlTmFtZSI6IlRleHRCb3ggMzg3MjciLCJPdXRzaWRlUGVyY2VudGFnZVNoYXBlTmFtZSI6bnVsbCwiSW5zaWRlUGVyY2VudGFnZVNoYXBlTmFtZSI6bnVsbH0seyJUYXNrSWQiOiJlMGJmNTY5Yy02Nzg1LTQyMjUtYTM3ZC0zZWY4NjM5ZDEyZTEiLCJUaXRsZVNoYXBlTmFtZSI6IlRleHRCb3ggMzg3NTIiLCJEdXJhdGlvblRleHRTaGFwZU5hbWUiOiJUZXh0Qm94IDM4NzY1IiwiU2VnbWVudFNoYXBlTmFtZSI6IlJvdW5kZWQgUmVjdGFuZ2xlIDM4NzQ3IiwiVmVydGljYWxMZWZ0Q29ubmVjdG9yU2hhcGVOYW1lIjoiU3RyYWlnaHQgQ29ubmVjdG9yIDM4NzczIiwiVmVydGljYWxSaWdodENvbm5lY3RvclNoYXBlTmFtZSI6IlN0cmFpZ2h0IENvbm5lY3RvciAzODc3NiIsIkhvcml6b250YWxDb25uZWN0b3JTaGFwZU5hbWUiOiJTdHJhaWdodCBDb25uZWN0b3IgMzg3NzAiLCJMZWZ0RGF0ZVNoYXBlTmFtZSI6IlRleHRCb3ggMzg3NjAiLCJSaWdodERhdGVTaGFwZU5hbWUiOiJUZXh0Qm94IDM4NzU3IiwiT3V0c2lkZVBlcmNlbnRhZ2VTaGFwZU5hbWUiOm51bGwsIkluc2lkZVBlcmNlbnRhZ2VTaGFwZU5hbWUiOm51bGx9LHsiVGFza0lkIjoiYzBjMDU1YWQtMTcyNi00ZmRjLWJmMjEtM2NmNzYyYjQ0NzBkIiwiVGl0bGVTaGFwZU5hbWUiOiJUZXh0Qm94IDM4Nzg2IiwiRHVyYXRpb25UZXh0U2hhcGVOYW1lIjoiVGV4dEJveCAzODc5OSIsIlNlZ21lbnRTaGFwZU5hbWUiOiJSb3VuZGVkIFJlY3RhbmdsZSAzODc4MSIsIlZlcnRpY2FsTGVmdENvbm5lY3RvclNoYXBlTmFtZSI6IlN0cmFpZ2h0IENvbm5lY3RvciAzODgwNyIsIlZlcnRpY2FsUmlnaHRDb25uZWN0b3JTaGFwZU5hbWUiOiJTdHJhaWdodCBDb25uZWN0b3IgMzg4MTAiLCJIb3Jpem9udGFsQ29ubmVjdG9yU2hhcGVOYW1lIjoiU3RyYWlnaHQgQ29ubmVjdG9yIDM4ODA0IiwiTGVmdERhdGVTaGFwZU5hbWUiOiJUZXh0Qm94IDM4Nzk0IiwiUmlnaHREYXRlU2hhcGVOYW1lIjoiVGV4dEJveCAzODc5MSIsIk91dHNpZGVQZXJjZW50YWdlU2hhcGVOYW1lIjpudWxsLCJJbnNpZGVQZXJjZW50YWdlU2hhcGVOYW1lIjpudWxsfSx7IlRhc2tJZCI6ImFmZjRmODU1LTU0ZWMtNGI0Ny1hYTRmLTk1ZjdiZjgyZGE0NSIsIlRpdGxlU2hhcGVOYW1lIjoiVGV4dEJveCAzODgyMCIsIkR1cmF0aW9uVGV4dFNoYXBlTmFtZSI6IlRleHRCb3ggMzg4MzMiLCJTZWdtZW50U2hhcGVOYW1lIjoiUm91bmRlZCBSZWN0YW5nbGUgMzg4MTUiLCJWZXJ0aWNhbExlZnRDb25uZWN0b3JTaGFwZU5hbWUiOiJTdHJhaWdodCBDb25uZWN0b3IgMzg4NDEiLCJWZXJ0aWNhbFJpZ2h0Q29ubmVjdG9yU2hhcGVOYW1lIjoiU3RyYWlnaHQgQ29ubmVjdG9yIDM4ODQ0IiwiSG9yaXpvbnRhbENvbm5lY3RvclNoYXBlTmFtZSI6IlN0cmFpZ2h0IENvbm5lY3RvciAzODgzOCIsIkxlZnREYXRlU2hhcGVOYW1lIjoiVGV4dEJveCAzODgyOCIsIlJpZ2h0RGF0ZVNoYXBlTmFtZSI6IlRleHRCb3ggMzg4MjUiLCJPdXRzaWRlUGVyY2VudGFnZVNoYXBlTmFtZSI6bnVsbCwiSW5zaWRlUGVyY2VudGFnZVNoYXBlTmFtZSI6bnVsbH0seyJUYXNrSWQiOiJhYzQ0Y2QwZS1iMjJjLTQ3MzAtODE4Mi1hMzg4NjExYjljMDEiLCJUaXRsZVNoYXBlTmFtZSI6IlRleHRCb3ggMzg4NTQiLCJEdXJhdGlvblRleHRTaGFwZU5hbWUiOiJUZXh0Qm94IDM4ODY3IiwiU2VnbWVudFNoYXBlTmFtZSI6IlJvdW5kZWQgUmVjdGFuZ2xlIDM4ODQ5IiwiVmVydGljYWxMZWZ0Q29ubmVjdG9yU2hhcGVOYW1lIjoiU3RyYWlnaHQgQ29ubmVjdG9yIDM4ODc1IiwiVmVydGljYWxSaWdodENvbm5lY3RvclNoYXBlTmFtZSI6IlN0cmFpZ2h0IENvbm5lY3RvciAzODg3OCIsIkhvcml6b250YWxDb25uZWN0b3JTaGFwZU5hbWUiOiJTdHJhaWdodCBDb25uZWN0b3IgMzg4NzEiLCJMZWZ0RGF0ZVNoYXBlTmFtZSI6IlRleHRCb3ggMzg4NjIiLCJSaWdodERhdGVTaGFwZU5hbWUiOiJUZXh0Qm94IDM4ODU5IiwiT3V0c2lkZVBlcmNlbnRhZ2VTaGFwZU5hbWUiOm51bGwsIkluc2lkZVBlcmNlbnRhZ2VTaGFwZU5hbWUiOm51bGx9XSwiVGltZWJhbmQiOnsiRWxhcHNlZFRpbWVTaGFwZU5hbWUiOiJSb3VuZGVkIFJlY3RhbmdsZSAzODI5MyIsIlRvZGF5TWFya2VyU2hhcGVOYW1lIjoiSXNvc2NlbGVzIFRyaWFuZ2xlIDM4Mjk1IiwiVG9kYXlNYXJrZXJUZXh0U2hhcGVOYW1lIjoiVGV4dEJveCAzODI5NyIsIlJpZ2h0RW5kQ2Fwc1NoYXBlTmFtZSI6bnVsbCwiTGVmdEVuZENhcHNTaGFwZU5hbWUiOm51bGwsIkVsYXBzZWRSZWN0YW5nbGVTaGFwZU5hbWUiOm51bGwsIlNlZ21lbnRTaGFwZXNOYW1lcyI6WyJSb3VuZGVkIFJlY3RhbmdsZSA4IiwiVGV4dEJveCAxMCIsIlRleHRCb3ggMTIiLCJUZXh0Qm94IDE3IiwiVGV4dEJveCAyMSIsIlRleHRCb3ggMjUiLCJUZXh0Qm94IDMwIiwiVGV4dEJveCAzODI3MyIsIlRleHRCb3ggMzgyNzciLCJUZXh0Qm94IDM4Mjc5IiwiVGV4dEJveCAzODI4MyIsIlRleHRCb3ggMzgyODciLCJUZXh0Qm94IDM4MjkxIl19fSwiRWRpdGlvbiI6MSwiSXNQbHVzRWRpdGlvbiI6dHJ1ZSwiQ3VsdHVyZUluZm9OYW1lIjoiZW4tVVMiLCJWZXJzaW9uIjoiMi4zLjAuMCIsIk9yaWdpbmFsQXNzZW1ibHlWZXJzaW9uIjoiMS4wMC4wMC4wMCIsIk1pbGVzdG9uZXMiOlt7IkRhdGVGb3JtYXQiOnsiRm9ybWF0U3RyaW5nIjoiTS9kL3l5eXkiLCJTZXBhcmF0b3IiOiIvIiwiVXNlSW50ZXJuYXRpb25hbERhdGVGb3JtYXQiOmZhbHNlfSwiSW50ZXJuYWxJZCI6ImUxOTk3ODMwLWU5MTYtNGYxOC05N2JhLTI3OTRhZGY1MjBmNSIsIlRpdGxlTGVmdCI6MTAzLjYyMzU0MywiVGl0bGVUb3AiOjEyNS42MTcxNjUsIlRpdGxlSGVpZ2h0IjoxMC42NjMxNSwiVGl0bGVUb3BJc0N1c3RvbSI6dHJ1ZSwiVGl0bGVXaWR0aCI6NDkuMjUsIkNvbG9yIjoiMjQ0LCAxNTcsIDAiLCJVdGNEYXRlIjoiMjAxNC0wNi0xOFQwMDowMDowMFoiLCJOb3RlIjpudWxsLCJUaXRsZSI6IiBLaWNrLU9mZiIsIlN0eWxlIjo3LCJCZWxvd1RpbWViYW5kIjp0cnVlLCJDdXN0b21TZXR0aW5ncyI6eyJJc0RhdGVWaXNpYmxlIjp0cnVlLCJUaXRsZUZvbnRTZXR0aW5ncyI6eyJGb250U2l6ZSI6MTEsIkZvbnROYW1lIjoiQ2VudHVyeSBHb3RoaWMiLCJJc0JvbGQiOnRydWUsIklzSXRhbGljIjpmYWxzZSwiSXNVbmRlcmxpbmVkIjpmYWxzZSwiRm9yZWdyb3VuZENvbG9yIjoiODAsIDgwLCA3MC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yNDQsIDE1NywgMCIsIklzVmlzaWJsZSI6ZmFsc2UsIkxpbmVXZWlnaHQiOjAuMX19LCJIaWRlRGF0ZSI6ZmFsc2UsIlNoYXBlVG9wIjo5Ny41LCJRdWlja1NoYXBlU2l6ZSI6MCwiSXNWaXNpYmxlIjp0cnVlfSx7IkRhdGVGb3JtYXQiOnsiRm9ybWF0U3RyaW5nIjoiTS9kL3l5eXkiLCJTZXBhcmF0b3IiOiIvIiwiVXNlSW50ZXJuYXRpb25hbERhdGVGb3JtYXQiOmZhbHNlfSwiSW50ZXJuYWxJZCI6ImYwM2RlNDllLTk4ZDMtNGIxNS04ODFjLWViYzI5ZWQzZWFmOSIsIlRpdGxlTGVmdCI6MjY2Ljg1MjIsIlRpdGxlVG9wIjo0NC42MTg2NiwiVGl0bGVIZWlnaHQiOjEwLjY2MzE1LCJUaXRsZVRvcElzQ3VzdG9tIjp0cnVlLCJUaXRsZVdpZHRoIjo2MC43NSwiQ29sb3IiOiIyMzIsIDc2LCAzNCIsIlV0Y0RhdGUiOiIyMDE0LTA5LTI0VDAwOjAwOjAwWiIsIk5vdGUiOm51bGwsIlRpdGxlIjoiVmFsaWRhdGlvbiAiLCJTdHlsZSI6NS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jYzZGE2MTIzLWZiNDMtNDE5YS1hODVlLWI4M2RmMGM5NzlmNiIsIlRpdGxlTGVmdCI6NDE4LjExMzg2MSwiVGl0bGVUb3AiOjM0LjA1NjYxMzksIlRpdGxlSGVpZ2h0IjoyMS4zMjYyMiwiVGl0bGVUb3BJc0N1c3RvbSI6ZmFsc2UsIlRpdGxlV2lkdGgiOjU4LjI1LCJDb2xvciI6IjIzMiwgNzYsIDM0IiwiVXRjRGF0ZSI6IjIwMTQtMTItMjBUMDA6MDA6MDBaIiwiTm90ZSI6bnVsbCwiVGl0bGUiOiJNaW5pbWFsIFByb3RvdHlwZSAiLCJTdHlsZSI6Ny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mM1ZjBiMGFhLWRmZGMtNDg4ZC04OGU4LTExYTExMTZhYzFjNyIsIlRpdGxlTGVmdCI6NTkzLjMwMjA2MywiVGl0bGVUb3AiOjM0LjA1NjYxMzksIlRpdGxlSGVpZ2h0IjoyMS4zMjYyMiwiVGl0bGVUb3BJc0N1c3RvbSI6dHJ1ZSwiVGl0bGVXaWR0aCI6NTkuNjI1MDQsIkNvbG9yIjoiMjMyLCA3NiwgMzQiLCJVdGNEYXRlIjoiMjAxNS0wNC0wMVQwMDowMDowMFoiLCJOb3RlIjpudWxsLCJUaXRsZSI6IkludGVncmF0ZWQgUHJvdG90eXBlIiwiU3R5bGUiOjcsIkJlbG93VGltZWJhbmQiOmZhbHNlLCJDdXN0b21TZXR0aW5ncyI6eyJJc0RhdGVWaXNpYmxlIjp0cnVlLCJUaXRsZUZvbnRTZXR0aW5ncyI6eyJGb250U2l6ZSI6MTEsIkZvbnROYW1lIjoiQ2VudHVyeSBHb3RoaWMiLCJJc0JvbGQiOmZhbHNlLCJJc0l0YWxpYyI6ZmFsc2UsIklzVW5kZXJsaW5lZCI6ZmFsc2UsIkZvcmVncm91bmRDb2xvciI6IjI1NSwgMTMyLCAzOSIsIkJhY2tDb2xvciI6bnVsbH0sIkRhdGVGb250U2V0dGluZ3MiOnsiRm9udFNpemUiOjEwLCJGb250TmFtZSI6IkNlbnR1cnkgR290aGljIiwiSXNCb2xkIjpmYWxzZSwiSXNJdGFsaWMiOmZhbHNlLCJJc1VuZGVybGluZWQiOmZhbHNlLCJGb3JlZ3JvdW5kQ29sb3IiOiI4MCwgODAsIDcwIiwiQmFja0NvbG9yIjpudWxsfSwiQ29ubmVjdG9yU2V0dGluZ3MiOnsiQ29sb3IiOiIyMzIsIDc2LCAzNCIsIklzVmlzaWJsZSI6ZmFsc2UsIkxpbmVXZWlnaHQiOjAuMX19LCJIaWRlRGF0ZSI6ZmFsc2UsIlNoYXBlVG9wIjo0MjEuNSwiUXVpY2tTaGFwZVNpemUiOjAsIklzVmlzaWJsZSI6dHJ1ZX0seyJEYXRlRm9ybWF0Ijp7IkZvcm1hdFN0cmluZyI6Ik0vZC95eXl5IiwiU2VwYXJhdG9yIjoiLyIsIlVzZUludGVybmF0aW9uYWxEYXRlRm9ybWF0IjpmYWxzZX0sIkludGVybmFsSWQiOiJkYmI1MGY1Ni0zM2JmLTQ0M2YtOTI0YS05YjJhNmMxOTRiZjkiLCJUaXRsZUxlZnQiOjY3OS4wMTU3LCJUaXRsZVRvcCI6MjkuMzkzNDY1LCJUaXRsZUhlaWdodCI6MTAuNjYzMTUsIlRpdGxlVG9wSXNDdXN0b20iOnRydWUsIlRpdGxlV2lkdGgiOjYwLjYyNTA0LCJDb2xvciI6IjE0NiwgMjA4LCA4MCIsIlV0Y0RhdGUiOiIyMDE1LTA1LTIxVDAwOjAwOjAwWiIsIk5vdGUiOm51bGwsIlRpdGxlIjoiSW50ZWdyYXRpb24iLCJTdHlsZSI6NSwiQmVsb3dUaW1lYmFuZCI6ZmFsc2UsIkN1c3RvbVNldHRpbmdzIjp7IklzRGF0ZVZpc2libGUiOnRydWUsIlRpdGxlRm9udFNldHRpbmdzIjp7IkZvbnRTaXplIjoxMSwiRm9udE5hbWUiOiJDZW50dXJ5IEdvdGhpYyIsIklzQm9sZCI6dHJ1ZSwiSXNJdGFsaWMiOnRydWUsIklzVW5kZXJsaW5lZCI6dHJ1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kJsYWNrIiwiSXNWaXNpYmxlIjpmYWxzZSwiTGluZVdlaWdodCI6MC4xfX0sIkhpZGVEYXRlIjpmYWxzZSwiU2hhcGVUb3AiOjcwLjUsIlF1aWNrU2hhcGVTaXplIjowLCJJc1Zpc2libGUiOnRydWV9LHsiRGF0ZUZvcm1hdCI6eyJGb3JtYXRTdHJpbmciOiJNL2QveXl5eSIsIlNlcGFyYXRvciI6Ii8iLCJVc2VJbnRlcm5hdGlvbmFsRGF0ZUZvcm1hdCI6ZmFsc2V9LCJJbnRlcm5hbElkIjoiZDg2ZTE1MmEtMjc5MC00NTg4LWFhNjItOTQ3NzllMWRmYmU5IiwiVGl0bGVMZWZ0Ijo4MDAuODc2NSwiVGl0bGVUb3AiOjEyNS42MTcxNjUsIlRpdGxlSGVpZ2h0IjoxMC42NjMxNSwiVGl0bGVUb3BJc0N1c3RvbSI6dHJ1ZSwiVGl0bGVXaWR0aCI6NjEuNzUsIkNvbG9yIjoiMjQ0LCAxNTcsIDAiLCJVdGNEYXRlIjoiMjAxNS0wNy0zMVQwMDowMDowMFoiLCJOb3RlIjpudWxsLCJUaXRsZSI6IlN1Ym1pc3Npb24iLCJTdHlsZSI6NywiQmVsb3dUaW1lYmFuZCI6dHJ1ZSwiQ3VzdG9tU2V0dGluZ3MiOnsiSXNEYXRlVmlzaWJsZSI6dHJ1ZSwiVGl0bGVGb250U2V0dGluZ3MiOnsiRm9udFNpemUiOjExLCJGb250TmFtZSI6IkNlbnR1cnkgR290aGljIiwiSXNCb2xkIjp0cnVlLCJJc0l0YWxpYyI6ZmFsc2UsIklzVW5kZXJsaW5lZCI6ZmFsc2UsIkZvcmVncm91bmRDb2xvciI6IjgwLCA4MCwgNzAiLCJCYWNrQ29sb3IiOm51bGx9LCJEYXRlRm9udFNldHRpbmdzIjp7IkZvbnRTaXplIjoxMCwiRm9udE5hbWUiOiJDZW50dXJ5IEdvdGhpYyIsIklzQm9sZCI6ZmFsc2UsIklzSXRhbGljIjpmYWxzZSwiSXNVbmRlcmxpbmVkIjpmYWxzZSwiRm9yZWdyb3VuZENvbG9yIjoiMTc4LCAzOCwgMCIsIkJhY2tDb2xvciI6bnVsbH0sIkNvbm5lY3RvclNldHRpbmdzIjp7IkNvbG9yIjoiMjQ0LCAxNTcsIDAiLCJJc1Zpc2libGUiOmZhbHNlLCJMaW5lV2VpZ2h0IjowLjF9fSwiSGlkZURhdGUiOmZhbHNlLCJTaGFwZVRvcCI6OTcuNSwiUXVpY2tTaGFwZVNpemUiOjAsIklzVmlzaWJsZSI6dHJ1ZX1dLCJUaW1lTGluZVR5cGUiOjIsIlRhc2tzIjpbeyJEdXJhdGlvblZhbHVlIjoyNy4wLCJEdXJhdGlvbkZvcm1hdCI6MCwiSW50ZXJuYWxJZCI6ImYzYzc3MGQ4LWE2YTItNDIzOC1hNTdiLTM3M2VmOTk4NDU1MCIsIkluZGV4IjoxLCJDb2xvciI6IjgwLCA4MCwgNzAiLCJVdGNTdGFydERhdGUiOiIyMDE0LTA2LTI1VDAwOjAwOjAwWiIsIk5vdGUiOm51bGwsIlV0Y0VuZERhdGUiOiIyMDE0LTA3LTIxVDAwOjAwOjAwWiIsIlRpdGxlIjoiUmVxdWlyZW1lbnRzIiwiU2hhcGUiOjEsIkN1c3RvbVNldHRpbmdzIjp7IlRpdGxlV2lkdGgiOjY3LjAyMzI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1LjAsIkR1cmF0aW9uRm9ybWF0IjowLCJJbnRlcm5hbElkIjoiYzNkNjg1ZDUtYWU4NS00ZmIxLTg1OTItNWU1MjdlNTM0ZjI4IiwiSW5kZXgiOjIsIkNvbG9yIjoiMTc4LCAzOCwgMCIsIlV0Y1N0YXJ0RGF0ZSI6IjIwMTQtMDctMDVUMDA6MDA6MDBaIiwiTm90ZSI6bnVsbCwiVXRjRW5kRGF0ZSI6IjIwMTQtMDgtMDhUMDA6MDA6MDBaIiwiVGl0bGUiOiJWYWxpZGF0aW9uICIsIlNoYXBlIjoxLCJDdXN0b21TZXR0aW5ncyI6eyJUaXRsZVdpZHRoIjo2Mi42MzA3ODY5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5LjAsIkR1cmF0aW9uRm9ybWF0IjowLCJJbnRlcm5hbElkIjoiYTUyMTc4M2MtZjMwOC00MzEzLWFmNzYtMGNkOWMyOTIzZTNjIiwiSW5kZXgiOjMsIkNvbG9yIjoiODAsIDgwLCA3MCIsIlV0Y1N0YXJ0RGF0ZSI6IjIwMTQtMDctMjVUMDA6MDA6MDBaIiwiTm90ZSI6bnVsbCwiVXRjRW5kRGF0ZSI6IjIwMTQtMDktMDFUMDA6MDA6MDBaIiwiVGl0bGUiOiJEYXRhIEFuYWx5c2lzIiwiU2hhcGUiOjEsIkN1c3RvbVNldHRpbmdzIjp7IlRpdGxlV2lkdGgiOjc0LjM2OTIx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mYWxz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C4wLCJEdXJhdGlvbkZvcm1hdCI6MCwiSW50ZXJuYWxJZCI6IjljZGU2ZDVkLTMwN2ItNGRmNy1iMTQ2LTQyNDhjYWI3ZmVmNiIsIkluZGV4Ijo0LCJDb2xvciI6IjE3OCwgMzgsIDAiLCJVdGNTdGFydERhdGUiOiIyMDE0LTA4LTExVDAwOjAwOjAwWiIsIk5vdGUiOm51bGwsIlV0Y0VuZERhdGUiOiIyMDE0LTA5LTEzVDAwOjAwOjAwWiIsIlRpdGxlIjoiQXJjaGl0ZWN0dXJhbCBSZXZpZXciLCJTaGFwZSI6MSwiQ3VzdG9tU2V0dGluZ3MiOnsiVGl0bGVXaWR0aCI6MTA4LjE5NjM4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0Mi4wLCJEdXJhdGlvbkZvcm1hdCI6MCwiSW50ZXJuYWxJZCI6IjZhNmU3MTQ5LTY2MWMtNGQ5OC1hZTIyLWI5YTg0YTIwYzBjZCIsIkluZGV4Ijo1LCJDb2xvciI6IjgwLCA4MCwgNzAiLCJVdGNTdGFydERhdGUiOiIyMDE0LTA4LTI1VDAwOjAwOjAwWiIsIk5vdGUiOm51bGwsIlV0Y0VuZERhdGUiOiIyMDE0LTEwLTA1VDAwOjAwOjAwWiIsIlRpdGxlIjoiU3lzdGVtIERlc2lnbiIsIlNoYXBlIjoxLCJDdXN0b21TZXR0aW5ncyI6eyJUaXRsZVdpZHRoIjo3OS42NzA0Ny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ZmFsc2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zguMCwiRHVyYXRpb25Gb3JtYXQiOjAsIkludGVybmFsSWQiOiJkYjUyODIwZS04OTYyLTRjMmYtYTQwNi04NzZkYWI5YjM2NjAiLCJJbmRleCI6NiwiQ29sb3IiOiIxNzgsIDM4LCAwIiwiVXRjU3RhcnREYXRlIjoiMjAxNC0wOS0wN1QwMDowMDowMFoiLCJOb3RlIjpudWxsLCJVdGNFbmREYXRlIjoiMjAxNC0xMC0xNFQwMDowMDowMFoiLCJUaXRsZSI6IkRhdGFiYXNlIiwiU2hhcGUiOjEsIkN1c3RvbVNldHRpbmdzIjp7IlRpdGxlV2lkdGgiOjQ5LjIyNjA2Mjg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2LjAsIkR1cmF0aW9uRm9ybWF0IjowLCJJbnRlcm5hbElkIjoiMzZmNzgxOGQtMDFhMS00MGI1LTg3MTYtYTBlZWE0OTcyNDI1IiwiSW5kZXgiOjcsIkNvbG9yIjoiODAsIDgwLCA3MCIsIlV0Y1N0YXJ0RGF0ZSI6IjIwMTQtMDktMjVUMDA6MDA6MDBaIiwiTm90ZSI6bnVsbCwiVXRjRW5kRGF0ZSI6IjIwMTQtMTAtMjBUMDA6MDA6MDBaIiwiVGl0bGUiOiJEYXRhIEltcHJvdmUiLCJTaGFwZSI6MSwiQ3VzdG9tU2V0dGluZ3MiOnsiVGl0bGVXaWR0aCI6NjguMDMyOTk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NjMuMCwiRHVyYXRpb25Gb3JtYXQiOjAsIkludGVybmFsSWQiOiJkYmM1MDMxOC03NDNmLTRkNmItYTk5NS1mYjNlN2I0MTg3ZDciLCJJbmRleCI6OCwiQ29sb3IiOiIxNzgsIDM4LCAwIiwiVXRjU3RhcnREYXRlIjoiMjAxNC0xMC0xNVQwMDowMDowMFoiLCJOb3RlIjpudWxsLCJVdGNFbmREYXRlIjoiMjAxNC0xMi0xNlQwMDowMDowMFoiLCJUaXRsZSI6IkNvZGluZyIsIlNoYXBlIjoxLCJDdXN0b21TZXR0aW5ncyI6eyJUaXRsZVdpZHRoIjo0NS41OTA5NDYy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wLjAsIkR1cmF0aW9uRm9ybWF0IjowLCJJbnRlcm5hbElkIjoiNTBkZjRhZGQtYTI5YS00OTRjLWJlMGUtOWU4NDY4NjU5ODZiIiwiSW5kZXgiOjksIkNvbG9yIjoiODAsIDgwLCA3MCIsIlV0Y1N0YXJ0RGF0ZSI6IjIwMTQtMTItMTJUMDA6MDA6MDBaIiwiTm90ZSI6bnVsbCwiVXRjRW5kRGF0ZSI6IjIwMTQtMTItMzFUMDA6MDA6MDBaIiwiVGl0bGUiOiJXZWJzaXRlIFRlc3RpbmciLCJTaGFwZSI6MSwiQ3VzdG9tU2V0dGluZ3MiOnsiVGl0bGVXaWR0aCI6ODYuNzM4O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ViOTU0Mjc1LWM1YjUtNGJlNS05MGJlLWUzZDE3YjBjZThhMyIsIkluZGV4IjoxMCwiQ29sb3IiOiIxNzgsIDM4LCAwIiwiVXRjU3RhcnREYXRlIjoiMjAxNS0wMS0wMlQwMDowMDowMFoiLCJOb3RlIjpudWxsLCJVdGNFbmREYXRlIjoiMjAxNS0wMi0wNlQwMDowMDowMFoiLCJUaXRsZSI6Ik9ubGluZSBUZXN0aW5nICIsIlNoYXBlIjoxLCJDdXN0b21TZXR0aW5ncyI6eyJUaXRsZVdpZHRoIjo4MS41NjM4Ni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4NS4wLCJEdXJhdGlvbkZvcm1hdCI6MCwiSW50ZXJuYWxJZCI6IjdlZTkzNjdkLTgzZTctNDMxMi1hZGFhLTZkNGJjZjIyMmY3NSIsIkluZGV4IjoxMSwiQ29sb3IiOiI4MCwgODAsIDcwIiwiVXRjU3RhcnREYXRlIjoiMjAxNS0wMS0xNVQwMDowMDowMFoiLCJOb3RlIjpudWxsLCJVdGNFbmREYXRlIjoiMjAxNS0wNC0wOVQwMDowMDowMFoiLCJUaXRsZSI6IkNvZGluZyIsIlNoYXBlIjoxLCJDdXN0b21TZXR0aW5ncyI6eyJUaXRsZVdpZHRoIjozNi4wOTkxMzI1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1LjAsIkR1cmF0aW9uRm9ybWF0IjowLCJJbnRlcm5hbElkIjoiZTViNjJkNjgtNGRhZi00YzgyLTgxN2UtNjRiMWVlNzM5NGFjIiwiSW5kZXgiOjEyLCJDb2xvciI6IjE3OCwgMzgsIDAiLCJVdGNTdGFydERhdGUiOiIyMDE1LTAzLTI1VDAwOjAwOjAwWiIsIk5vdGUiOm51bGwsIlV0Y0VuZERhdGUiOiIyMDE1LTA0LTE4VDAwOjAwOjAwWiIsIlRpdGxlIjoiU3lzdGVtIFRlc3RpbmcgIiwiU2hhcGUiOjEsIkN1c3RvbVNldHRpbmdzIjp7IlRpdGxlV2lkdGgiOjcyLjU3Njk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Dk0NTcyOGUtOTZlOC00NDUzLTliM2MtMDE4YzJiZThhODY5IiwiSW5kZXgiOjEzLCJDb2xvciI6IjgwLCA4MCwgNzAiLCJVdGNTdGFydERhdGUiOiIyMDE1LTA0LTAxVDAwOjAwOjAwWiIsIk5vdGUiOm51bGwsIlV0Y0VuZERhdGUiOiIyMDE1LTA1LTAyVDAwOjAwOjAwWiIsIlRpdGxlIjoiU3RhYmlsaXphdGlvbiAiLCJTaGFwZSI6MSwiQ3VzdG9tU2V0dGluZ3MiOnsiVGl0bGVXaWR0aCI6NzEuOTcx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M5YjhiNDljLTQzODMtNDY4My1iNGFhLTE0YjY1NjYyOTY4NiIsIkluZGV4IjoxNCwiQ29sb3IiOiIxNzgsIDM4LCAwIiwiVXRjU3RhcnREYXRlIjoiMjAxNS0wNC0xOFQwMDowMDowMFoiLCJOb3RlIjpudWxsLCJVdGNFbmREYXRlIjoiMjAxNS0wNS0yM1QwMDowMDowMFoiLCJUaXRsZSI6IlBlcmZvcm1hbmNlIEVuaGFuY2luZyIsIlNoYXBlIjoxLCJDdXN0b21TZXR0aW5ncyI6eyJUaXRsZVdpZHRoIjoxMjEuODI4MTg2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TBiZjU2OWMtNjc4NS00MjI1LWEzN2QtM2VmODYzOWQxMmUxIiwiSW5kZXgiOjE1LCJDb2xvciI6IjgwLCA4MCwgNzAiLCJVdGNTdGFydERhdGUiOiIyMDE1LTA1LTMwVDAwOjAwOjAwWiIsIk5vdGUiOm51bGwsIlV0Y0VuZERhdGUiOiIyMDE1LTA2LTMwVDAwOjAwOjAwWiIsIlRpdGxlIjoiSW50ZWdyYXRpb24gd2l0aCBXZWJzaXRlIiwiU2hhcGUiOjEsIkN1c3RvbVNldHRpbmdzIjp7IlRpdGxlV2lkdGgiOjE4MC4wLCJUaXRsZUZvbnRTZXR0aW5ncyI6eyJGb250U2l6ZSI6MTAsIkZvbnROYW1lIjoiQ2VudHVyeSBHb3RoaWMiLCJJc0JvbGQiOnRydWUsIklzSXRhbGljIjpmYWxzZSwiSXNVbmRlcmxpbmVkIjpmYWxzZSwiRm9yZWdyb3VuZENvbG9yIjoiMTgyLCA3MywgMzg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zLjB9LCJIb3Jpem9udGFsQ29ubmVjdG9yU2V0dGluZ3MiOnsiQ29sb3IiOiIyMzgsIDIzNiwgMjI1IiwiSXNWaXNpYmxlIjp0cnVlLCJMaW5lV2VpZ2h0IjozLjB9LCJUYXNrU2hhcGVCb3JkZXJTZXR0aW5ncyI6eyJDb2xvciI6IlJlZCIsIkxpbmVXZWlnaHQiOjAuMH0sIlNtYXJ0VGl0bGVGb3JlZ3JvdW5kIjoiODAsIDgwLCA3MCIsIlNtYXJ0VGl0bGVGb3JlZ3JvdW5kSXNBY3RpdmUiOmZhbHN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MC4wLCJEdXJhdGlvbkZvcm1hdCI6MCwiSW50ZXJuYWxJZCI6ImMwYzA1NWFkLTE3MjYtNGZkYy1iZjIxLTNjZjc2MmI0NDcwZCIsIkluZGV4IjoxNiwiQ29sb3IiOiIxNzgsIDM4LCAwIiwiVXRjU3RhcnREYXRlIjoiMjAxNS0wNi0xNFQwMDowMDowMFoiLCJOb3RlIjpudWxsLCJVdGNFbmREYXRlIjoiMjAxNS0wNy0wM1QwMDowMDowMFoiLCJUaXRsZSI6IlVzZXIgQWNjZXB0YW5jZSBUZXN0aW5nICIsIlNoYXBlIjoxLCJDdXN0b21TZXR0aW5ncyI6eyJUaXRsZVdpZHRoIjoxMjAuMC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NC4wLCJEdXJhdGlvbkZvcm1hdCI6MCwiSW50ZXJuYWxJZCI6ImFmZjRmODU1LTU0ZWMtNGI0Ny1hYTRmLTk1ZjdiZjgyZGE0NSIsIkluZGV4IjoxNywiQ29sb3IiOiI4MCwgODAsIDcwIiwiVXRjU3RhcnREYXRlIjoiMjAxNS0wNy0wMlQwMDowMDowMFoiLCJOb3RlIjpudWxsLCJVdGNFbmREYXRlIjoiMjAxNS0wNy0yNVQwMDowMDowMFoiLCJUaXRsZSI6IkRvY3VtZW50YXRpb24gIiwiU2hhcGUiOjEsIkN1c3RvbVNldHRpbmdzIjp7IlRpdGxlV2lkdGgiOjgwLjQwMjU5NTU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jEuMCwiRHVyYXRpb25Gb3JtYXQiOjAsIkludGVybmFsSWQiOiJhYzQ0Y2QwZS1iMjJjLTQ3MzAtODE4Mi1hMzg4NjExYjljMDEiLCJJbmRleCI6MTgsIkNvbG9yIjoiMTc4LCAzOCwgMCIsIlV0Y1N0YXJ0RGF0ZSI6IjIwMTUtMDctMTBUMDA6MDA6MDBaIiwiTm90ZSI6bnVsbCwiVXRjRW5kRGF0ZSI6IjIwMTUtMDctMzBUMDA6MDA6MDBaIiwiVGl0bGUiOiJTdGFnZSAxIFN1Ym1pc3Npb24iLCJTaGFwZSI6MSwiQ3VzdG9tU2V0dGluZ3MiOnsiVGl0bGVXaWR0aCI6OTMuMDI0NzMsIlRpdGxlRm9udFNldHRpbmdzIjp7IkZvbnRTaXplIjoxMCwiRm9udE5hbWUiOiJDZW50dXJ5IEdvdGhpYyIsIklzQm9sZCI6dHJ1ZSwiSXNJdGFsaWMiOnRydWUsIklzVW5kZXJsaW5lZCI6dHJ1ZSwiRm9yZWdyb3VuZENvbG9yIjoiMTc4LCAzOCwg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ZmFsc2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V0sIlN0eWxlIjp7IlRpbWVsaW5lU2V0dGluZ3MiOnsiVG9kYXlNYXJrZXJDb2xvciI6IjE4MiwgNzMsIDM4IiwiVG9kYXlNYXJrZXJGb250U2V0dGluZ3MiOnsiRm9udFNpemUiOjEwLCJGb250TmFtZSI6IkNlbnR1cnkgR290aGljIiwiSXNCb2xkIjpmYWxzZSwiSXNJdGFsaWMiOmZhbHNlLCJJc1VuZGVybGluZWQiOmZhbHNlLCJGb3JlZ3JvdW5kQ29sb3IiOiIwLCAwLCAwIiwiQmFja0NvbG9yIjpudWxsfSwiU3RhcnRZZWFyRm9udCI6eyJGb250U2l6ZSI6MTgsIkZvbnROYW1lIjoiQ2FsaWJyaSIsIklzQm9sZCI6dHJ1ZSwiSXNJdGFsaWMiOmZhbHNlLCJJc1VuZGVybGluZWQiOmZhbHNlLCJGb3JlZ3JvdW5kQ29sb3IiOiJPcmFuZ2VSZWQiLCJCYWNrQ29sb3IiOm51bGx9LCJFbmRZZWFyRm9udCI6eyJGb250U2l6ZSI6MTgsIkZvbnROYW1lIjoiQ2FsaWJyaSIsIklzQm9sZCI6dHJ1ZSwiSXNJdGFsaWMiOmZhbHNlLCJJc1VuZGVybGluZWQiOmZhbHNlLCJGb3JlZ3JvdW5kQ29sb3IiOiJPcmFuZ2VSZWQiLCJCYWNrQ29sb3IiOm51bGx9LCJJc1RoaW4iOnRydWUsIkhhczNERWZmZWN0Ijp0cnVlLCJUaW1lYmFuZElzUm91bmRlZCI6dHJ1ZSwiVGltZWJhbmRDb2xvciI6IjE2NywgNDcsIDE0IiwiVGltZWJhbmRGb250U2V0dGluZ3MiOnsiRm9udFNpemUiOjEyLCJGb250TmFtZSI6IkNlbnR1cnkgR290aGljIiwiSXNCb2xkIjp0cnVlLCJJc0l0YWxpYyI6ZmFsc2UsIklzVW5kZXJsaW5lZCI6ZmFsc2UsIkZvcmVncm91bmRDb2xvciI6IldoaXRlIiwiQmFja0NvbG9yIjpudWxsfSwiRWxhcHNlZFRpbWVDb2xvciI6IjI1NSwgMTMyLCAzOSIsIkVsYXBzZWRUaW1lU3R5bGUiOjEsIlRvZGF5TWFya2VyUG9zaXRpb24iOjIsIkNhcHNQb3NpdGlvbiI6MH0sIkRlZmF1bHRNaWxlc3RvbmVTZXR0aW5ncyI6eyJGbGFnQ29ubmVjdG9yU2V0dGluZ3MiOnsiQ29sb3IiOiJCbGFjayIsIklzVmlzaWJsZSI6ZmFsc2UsIkxpbmVXZWlnaHQiOjAuMX0sIkRhdGVGb3JtYXQiOnsiRm9ybWF0U3RyaW5nIjoiTS9kL3l5eXkiLCJTZXBhcmF0b3IiOiIvIiwiVXNlSW50ZXJuYXRpb25hbERhdGVGb3JtYXQiOmZhbHNlfSwiSXNEYXRlVmlzaWJsZSI6dHJ1ZSwiVGl0bGVGb250U2V0dGluZ3MiOnsiRm9udFNpemUiOjExLCJGb250TmFtZSI6IkNlbnR1cnkgR290aGljIiwiSXNCb2xkIjpmYWxzZSwiSXNJdGFsaWMiOmZhbHNlLCJJc1VuZGVybGluZWQiOmZhbHNlLCJGb3JlZ3JvdW5kQ29sb3IiOiJCbGFjay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iLCJJc1Zpc2libGUiOmZhbHNlLCJMaW5lV2VpZ2h0IjowLjF9fSwiRGVmYXVsdFRhc2tTZXR0aW5ncyI6eyJEYXRlRm9udFNldHRpbmdzIjp7IkZvbnRTaXplIjo5LCJGb250TmFtZSI6IkNlbnR1cnkgR290aGljIiwiSXNCb2xkIjpmYWxzZSwiSXNJdGFsaWMiOmZhbHNlLCJJc1VuZGVybGluZWQiOmZhbHNlLCJGb3JlZ3JvdW5kQ29sb3IiOiIyMzIsIDc2LCAzNCIsIkJhY2tDb2xvciI6bnVsbH0sIlN0YXJ0RGF0ZUZvbnRTZXR0aW5ncyI6eyJGb250U2l6ZSI6MTIsIkZvbnROYW1lIjoiQ2FsaWJyaSIsIklzQm9sZCI6ZmFsc2UsIklzSXRhbGljIjpmYWxzZSwiSXNVbmRlcmxpbmVkIjpmYWxzZSwiRm9yZWdyb3VuZENvbG9yIjoiV2hpdGUiLCJCYWNrQ29sb3IiOm51bGx9LCJFbmREYXRlRm9udFNldHRpbmdzIjp7IkZvbnRTaXplIjoxMiwiRm9udE5hbWUiOiJDYWxpYnJpIiwiSXNCb2xkIjpmYWxzZSwiSXNJdGFsaWMiOmZhbHNlLCJJc1VuZGVybGluZWQiOmZhbHNlLCJGb3JlZ3JvdW5kQ29sb3IiOiJXaGl0ZSIsIkJhY2tDb2xvciI6bnVsbH0sIkR1cmF0aW9uRm9udFNldHRpbmdzIjp7IkZvbnRTaXplIjoxMCwiRm9udE5hbWUiOiJDYWxpYnJpIiwiSXNCb2xkIjpmYWxzZSwiSXNJdGFsaWMiOmZhbHNlLCJJc1VuZGVybGluZWQiOmZhbHNlLCJGb3JlZ3JvdW5kQ29sb3IiOiIxOTIsIDgwLCA3NyIsIkJhY2tDb2xvciI6bnVsbH0sIklzVGhpY2siOmZhbHNlLCJUYXNrc0Fib3ZlVGltZWJhbmQiOmZhbHNlLCJEYXRlRm9ybWF0Ijp7IkZvcm1hdFN0cmluZyI6Ik0vZCIsIlNlcGFyYXRvciI6Ii8iLCJVc2VJbnRlcm5hdGlvbmFsRGF0ZUZvcm1hdCI6ZmFsc2V9LCJEdXJhdGlvblBvc2l0aW9uIjoxLCJEdXJhdGlvbkZvcm1hdCI6MCwiUmVuZGVyTG9uZ1Rhc2tUaXRsZUFib3ZlVGFza1NoYXBlIjpmYWxzZSwiSXNIb3Jpem9udGFsQ29ubmVjdG9yVmlzaWJsZSI6dHJ1ZSwiSXNWZXJ0aWNhbENvbm5lY3RvclZpc2libGUiOnRydWUsIkludGVydmFsVGV4dFBvc2l0aW9uIjozLCJJbnRlcnZhbERhdGVQb3NpdGlvbiI6MiwiVGl0bGVXaWR0aCI6bnVsbCwiVGl0bGVGb250U2V0dGluZ3MiOnsiRm9udFNpemUiOjEwLCJGb250TmFtZSI6IkNlbnR1cnkgR290aGljIiwiSXNCb2xkIjpmYWxzZSwiSXNJdGFsaWMiOmZhbHNlLCJJc1VuZGVybGluZWQiOmZhbHNlLCJGb3JlZ3JvdW5kQ29sb3IiOiI4MCwgODAsIDcw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iLCJTbWFydFRpdGxlRm9yZWdyb3VuZElzQWN0aXZlIjpmYWxzZSwiU21hcnREdXJhdGlvbkZvcmVncm91bmQiOiIiLCJTbWFydER1cmF0aW9uRm9yZWdyb3VuZElzQWN0aXZlIjpmYWxzZSwiU21hcnREYXRlRm9yZWdyb3VuZCI6I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NjYWxlU2V0dGluZ3MiOnsiRGF0ZUZvcm1hdCI6Ik1NTSIsIkludGVydmFsVHlwZSI6NSwiVXNlQXV0b21hdGljVGltZVNjYWxlIjp0cnVlLCJDdXN0b21UaW1lU2NhbGVVdGNTdGFydERhdGUiOiIyMDE0LTA2LTE4VDAwOjAwOjAwWiIsIkN1c3RvbVRpbWVTY2FsZVV0Y0VuZERhdGUiOiIyMDE1LTA3LTMxVDAwOjAwOjAwWiJ9fSwiVGltZWJhbmRWZXJ0aWNhbFBvc2l0aW9uIjp7IlF1aWNrUG9zaXRpb24iOjMsIlJlbGF0aXZlUG9zaXRpb24iOjE1LjAsIkFic29sdXRlUG9zaXRpb24iOjgxLjAsIlByZXZpb3VzQWJzb2x1dGVQb3NpdGlvbiI6ODEuMH19"/>
  <p:tag name="__MASTER" val="__part_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JSZW5kZXJpbmdPcHRpb25zIjp7Ik1pbGVzdG9uZXNPdmVybGFwcGluZ0hhbmRsaW5nT3B0aW9ucyI6MiwiVGFza3NXaXRoVGl0bGVzTG9uZ2VyVGhhblRoZVRhc2tTaGFwZURldGVjdGVkIjpmYWxzZX0sIlJlbmRlcmluZ01hcCI6eyJNaWxlc3RvbmVzIjpbeyJNaWxlc3RvbmVJZCI6ImQ4NmUxNTJhLTI3OTAtNDU4OC1hYTYyLTk0Nzc5ZTFkZmJlOSIsIlRpdGxlU2hhcGVOYW1lIjoiVGV4dEJveCAzODMwMyIsIkRhdGVTaGFwZU5hbWUiOiJUZXh0Qm94IDM4MzA2IiwiTWFya2VyU2hhcGVOYW1lIjoiQ2hldnJvbiAzODI5OSIsIkNvbm5lY3RvclNoYXBlTmFtZSI6IlN0cmFpZ2h0IENvbm5lY3RvciAzODMwOCJ9LHsiTWlsZXN0b25lSWQiOiJkYmI1MGY1Ni0zM2JmLTQ0M2YtOTI0YS05YjJhNmMxOTRiZjkiLCJUaXRsZVNoYXBlTmFtZSI6IlRleHRCb3ggMzgzMTQiLCJEYXRlU2hhcGVOYW1lIjoiVGV4dEJveCAzODMxNiIsIk1hcmtlclNoYXBlTmFtZSI6IkZsb3djaGFydDogTWFudWFsIE9wZXJhdGlvbiAzODMxMSIsIkNvbm5lY3RvclNoYXBlTmFtZSI6IlN0cmFpZ2h0IENvbm5lY3RvciAzODMxOSJ9LHsiTWlsZXN0b25lSWQiOiJjNWYwYjBhYS1kZmRjLTQ4OGQtODhlOC0xMWExMTE2YWMxYzciLCJUaXRsZVNoYXBlTmFtZSI6IlRleHRCb3ggMzgzMjQiLCJEYXRlU2hhcGVOYW1lIjoiVGV4dEJveCAzODMyNyIsIk1hcmtlclNoYXBlTmFtZSI6IkNoZXZyb24gMzgzMjIiLCJDb25uZWN0b3JTaGFwZU5hbWUiOiJTdHJhaWdodCBDb25uZWN0b3IgMzgzMzAifSx7Ik1pbGVzdG9uZUlkIjoiNjNkYTYxMjMtZmI0My00MTlhLWE4NWUtYjgzZGYwYzk3OWY2IiwiVGl0bGVTaGFwZU5hbWUiOiJUZXh0Qm94IDM4MzM0IiwiRGF0ZVNoYXBlTmFtZSI6IlRleHRCb3ggMzgzMzciLCJNYXJrZXJTaGFwZU5hbWUiOiJDaGV2cm9uIDM4MzMyIiwiQ29ubmVjdG9yU2hhcGVOYW1lIjpudWxsfSx7Ik1pbGVzdG9uZUlkIjoiZjAzZGU0OWUtOThkMy00YjE1LTg4MWMtZWJjMjllZDNlYWY5IiwiVGl0bGVTaGFwZU5hbWUiOiJUZXh0Qm94IDM4MzQyIiwiRGF0ZVNoYXBlTmFtZSI6IlRleHRCb3ggMzgzNDUiLCJNYXJrZXJTaGFwZU5hbWUiOiJGbG93Y2hhcnQ6IE1hbnVhbCBPcGVyYXRpb24gMzgzNDAiLCJDb25uZWN0b3JTaGFwZU5hbWUiOiJTdHJhaWdodCBDb25uZWN0b3IgMzgzNDcifSx7Ik1pbGVzdG9uZUlkIjoiZTE5OTc4MzAtZTkxNi00ZjE4LTk3YmEtMjc5NGFkZjUyMGY1IiwiVGl0bGVTaGFwZU5hbWUiOiJUZXh0Qm94IDM4MzUzIiwiRGF0ZVNoYXBlTmFtZSI6IlRleHRCb3ggMzgzNTYiLCJNYXJrZXJTaGFwZU5hbWUiOiJDaGV2cm9uIDM4MzUwIiwiQ29ubmVjdG9yU2hhcGVOYW1lIjoiU3RyYWlnaHQgQ29ubmVjdG9yIDM4MzU4In1dLCJUYXNrcyI6W3siVGFza0lkIjoiZjNjNzcwZDgtYTZhMi00MjM4LWE1N2ItMzczZWY5OTg0NTUwIiwiVGl0bGVTaGFwZU5hbWUiOiJUZXh0Qm94IDM4MzY2IiwiRHVyYXRpb25UZXh0U2hhcGVOYW1lIjoiVGV4dEJveCAzODM3NiIsIlNlZ21lbnRTaGFwZU5hbWUiOiJSb3VuZGVkIFJlY3RhbmdsZSAzODM2MiIsIlZlcnRpY2FsTGVmdENvbm5lY3RvclNoYXBlTmFtZSI6IlN0cmFpZ2h0IENvbm5lY3RvciAzODM4MyIsIlZlcnRpY2FsUmlnaHRDb25uZWN0b3JTaGFwZU5hbWUiOiJTdHJhaWdodCBDb25uZWN0b3IgMzgzODYiLCJIb3Jpem9udGFsQ29ubmVjdG9yU2hhcGVOYW1lIjoiU3RyYWlnaHQgQ29ubmVjdG9yIDM4MzgxIiwiTGVmdERhdGVTaGFwZU5hbWUiOiJUZXh0Qm94IDM4MzcyIiwiUmlnaHREYXRlU2hhcGVOYW1lIjoiVGV4dEJveCAzODM3MCIsIk91dHNpZGVQZXJjZW50YWdlU2hhcGVOYW1lIjpudWxsLCJJbnNpZGVQZXJjZW50YWdlU2hhcGVOYW1lIjpudWxsfSx7IlRhc2tJZCI6ImMzZDY4NWQ1LWFlODUtNGZiMS04NTkyLTVlNTI3ZTUzNGYyOCIsIlRpdGxlU2hhcGVOYW1lIjoiVGV4dEJveCAzODM5MyIsIkR1cmF0aW9uVGV4dFNoYXBlTmFtZSI6IlRleHRCb3ggMzg0MDQiLCJTZWdtZW50U2hhcGVOYW1lIjoiUm91bmRlZCBSZWN0YW5nbGUgMzgzODkiLCJWZXJ0aWNhbExlZnRDb25uZWN0b3JTaGFwZU5hbWUiOiJTdHJhaWdodCBDb25uZWN0b3IgMzg0MTAiLCJWZXJ0aWNhbFJpZ2h0Q29ubmVjdG9yU2hhcGVOYW1lIjoiU3RyYWlnaHQgQ29ubmVjdG9yIDM4NDEzIiwiSG9yaXpvbnRhbENvbm5lY3RvclNoYXBlTmFtZSI6IlN0cmFpZ2h0IENvbm5lY3RvciAzODQwNyIsIkxlZnREYXRlU2hhcGVOYW1lIjoiVGV4dEJveCAzODQwMCIsIlJpZ2h0RGF0ZVNoYXBlTmFtZSI6IlRleHRCb3ggMzgzOTciLCJPdXRzaWRlUGVyY2VudGFnZVNoYXBlTmFtZSI6bnVsbCwiSW5zaWRlUGVyY2VudGFnZVNoYXBlTmFtZSI6bnVsbH0seyJUYXNrSWQiOiJhNTIxNzgzYy1mMzA4LTQzMTMtYWY3Ni0wY2Q5YzI5MjNlM2MiLCJUaXRsZVNoYXBlTmFtZSI6IlRleHRCb3ggMzg0MjEiLCJEdXJhdGlvblRleHRTaGFwZU5hbWUiOiJUZXh0Qm94IDM4NDMxIiwiU2VnbWVudFNoYXBlTmFtZSI6IlJvdW5kZWQgUmVjdGFuZ2xlIDM4NDE3IiwiVmVydGljYWxMZWZ0Q29ubmVjdG9yU2hhcGVOYW1lIjoiU3RyYWlnaHQgQ29ubmVjdG9yIDM4NDM4IiwiVmVydGljYWxSaWdodENvbm5lY3RvclNoYXBlTmFtZSI6IlN0cmFpZ2h0IENvbm5lY3RvciAzODQ0MCIsIkhvcml6b250YWxDb25uZWN0b3JTaGFwZU5hbWUiOiJTdHJhaWdodCBDb25uZWN0b3IgMzg0MzUiLCJMZWZ0RGF0ZVNoYXBlTmFtZSI6IlRleHRCb3ggMzg0MjciLCJSaWdodERhdGVTaGFwZU5hbWUiOiJUZXh0Qm94IDM4NDI1IiwiT3V0c2lkZVBlcmNlbnRhZ2VTaGFwZU5hbWUiOm51bGwsIkluc2lkZVBlcmNlbnRhZ2VTaGFwZU5hbWUiOm51bGx9LHsiVGFza0lkIjoiOWNkZTZkNWQtMzA3Yi00ZGY3LWIxNDYtNDI0OGNhYjdmZWY2IiwiVGl0bGVTaGFwZU5hbWUiOiJUZXh0Qm94IDM4NDQ5IiwiRHVyYXRpb25UZXh0U2hhcGVOYW1lIjoiVGV4dEJveCAzODQ1OSIsIlNlZ21lbnRTaGFwZU5hbWUiOiJSb3VuZGVkIFJlY3RhbmdsZSAzODQ0NSIsIlZlcnRpY2FsTGVmdENvbm5lY3RvclNoYXBlTmFtZSI6IlN0cmFpZ2h0IENvbm5lY3RvciAzODQ2NiIsIlZlcnRpY2FsUmlnaHRDb25uZWN0b3JTaGFwZU5hbWUiOiJTdHJhaWdodCBDb25uZWN0b3IgMzg0NjgiLCJIb3Jpem9udGFsQ29ubmVjdG9yU2hhcGVOYW1lIjoiU3RyYWlnaHQgQ29ubmVjdG9yIDM4NDYzIiwiTGVmdERhdGVTaGFwZU5hbWUiOiJUZXh0Qm94IDM4NDU1IiwiUmlnaHREYXRlU2hhcGVOYW1lIjoiVGV4dEJveCAzODQ1MiIsIk91dHNpZGVQZXJjZW50YWdlU2hhcGVOYW1lIjpudWxsLCJJbnNpZGVQZXJjZW50YWdlU2hhcGVOYW1lIjpudWxsfSx7IlRhc2tJZCI6IjZhNmU3MTQ5LTY2MWMtNGQ5OC1hZTIyLWI5YTg0YTIwYzBjZCIsIlRpdGxlU2hhcGVOYW1lIjoiVGV4dEJveCAzODQ3NiIsIkR1cmF0aW9uVGV4dFNoYXBlTmFtZSI6IlRleHRCb3ggMzg0ODciLCJTZWdtZW50U2hhcGVOYW1lIjoiUm91bmRlZCBSZWN0YW5nbGUgMzg0NzIiLCJWZXJ0aWNhbExlZnRDb25uZWN0b3JTaGFwZU5hbWUiOiJTdHJhaWdodCBDb25uZWN0b3IgMzg0OTMiLCJWZXJ0aWNhbFJpZ2h0Q29ubmVjdG9yU2hhcGVOYW1lIjoiU3RyYWlnaHQgQ29ubmVjdG9yIDM4NDk1IiwiSG9yaXpvbnRhbENvbm5lY3RvclNoYXBlTmFtZSI6IlN0cmFpZ2h0IENvbm5lY3RvciAzODQ5MCIsIkxlZnREYXRlU2hhcGVOYW1lIjoiVGV4dEJveCAzODQ4MyIsIlJpZ2h0RGF0ZVNoYXBlTmFtZSI6IlRleHRCb3ggMzg0ODAiLCJPdXRzaWRlUGVyY2VudGFnZVNoYXBlTmFtZSI6bnVsbCwiSW5zaWRlUGVyY2VudGFnZVNoYXBlTmFtZSI6bnVsbH0seyJUYXNrSWQiOiJkYjUyODIwZS04OTYyLTRjMmYtYTQwNi04NzZkYWI5YjM2NjAiLCJUaXRsZVNoYXBlTmFtZSI6IlRleHRCb3ggMzg1MDMiLCJEdXJhdGlvblRleHRTaGFwZU5hbWUiOiJUZXh0Qm94IDM4NTE0IiwiU2VnbWVudFNoYXBlTmFtZSI6IlJvdW5kZWQgUmVjdGFuZ2xlIDM4NTAwIiwiVmVydGljYWxMZWZ0Q29ubmVjdG9yU2hhcGVOYW1lIjoiU3RyYWlnaHQgQ29ubmVjdG9yIDM4NTIxIiwiVmVydGljYWxSaWdodENvbm5lY3RvclNoYXBlTmFtZSI6IlN0cmFpZ2h0IENvbm5lY3RvciAzODUyMyIsIkhvcml6b250YWxDb25uZWN0b3JTaGFwZU5hbWUiOiJTdHJhaWdodCBDb25uZWN0b3IgMzg1MTgiLCJMZWZ0RGF0ZVNoYXBlTmFtZSI6IlRleHRCb3ggMzg1MTAiLCJSaWdodERhdGVTaGFwZU5hbWUiOiJUZXh0Qm94IDM4NTA3IiwiT3V0c2lkZVBlcmNlbnRhZ2VTaGFwZU5hbWUiOm51bGwsIkluc2lkZVBlcmNlbnRhZ2VTaGFwZU5hbWUiOm51bGx9LHsiVGFza0lkIjoiMzZmNzgxOGQtMDFhMS00MGI1LTg3MTYtYTBlZWE0OTcyNDI1IiwiVGl0bGVTaGFwZU5hbWUiOiJUZXh0Qm94IDM4NTMxIiwiRHVyYXRpb25UZXh0U2hhcGVOYW1lIjoiVGV4dEJveCAzODU0MSIsIlNlZ21lbnRTaGFwZU5hbWUiOiJSb3VuZGVkIFJlY3RhbmdsZSAzODUyNyIsIlZlcnRpY2FsTGVmdENvbm5lY3RvclNoYXBlTmFtZSI6IlN0cmFpZ2h0IENvbm5lY3RvciAzODU0OCIsIlZlcnRpY2FsUmlnaHRDb25uZWN0b3JTaGFwZU5hbWUiOiJTdHJhaWdodCBDb25uZWN0b3IgMzg1NTEiLCJIb3Jpem9udGFsQ29ubmVjdG9yU2hhcGVOYW1lIjoiU3RyYWlnaHQgQ29ubmVjdG9yIDM4NTQ1IiwiTGVmdERhdGVTaGFwZU5hbWUiOiJUZXh0Qm94IDM4NTM3IiwiUmlnaHREYXRlU2hhcGVOYW1lIjoiVGV4dEJveCAzODUzNSIsIk91dHNpZGVQZXJjZW50YWdlU2hhcGVOYW1lIjpudWxsLCJJbnNpZGVQZXJjZW50YWdlU2hhcGVOYW1lIjpudWxsfSx7IlRhc2tJZCI6ImRiYzUwMzE4LTc0M2YtNGQ2Yi1hOTk1LWZiM2U3YjQxODdkNyIsIlRpdGxlU2hhcGVOYW1lIjoiVGV4dEJveCAzODU1OCIsIkR1cmF0aW9uVGV4dFNoYXBlTmFtZSI6IlRleHRCb3ggMzg1NjkiLCJTZWdtZW50U2hhcGVOYW1lIjoiUm91bmRlZCBSZWN0YW5nbGUgMzg1NTQiLCJWZXJ0aWNhbExlZnRDb25uZWN0b3JTaGFwZU5hbWUiOiJTdHJhaWdodCBDb25uZWN0b3IgMzg1NzUiLCJWZXJ0aWNhbFJpZ2h0Q29ubmVjdG9yU2hhcGVOYW1lIjoiU3RyYWlnaHQgQ29ubmVjdG9yIDM4NTc4IiwiSG9yaXpvbnRhbENvbm5lY3RvclNoYXBlTmFtZSI6IlN0cmFpZ2h0IENvbm5lY3RvciAzODU3MyIsIkxlZnREYXRlU2hhcGVOYW1lIjoiVGV4dEJveCAzODU2NSIsIlJpZ2h0RGF0ZVNoYXBlTmFtZSI6IlRleHRCb3ggMzg1NjIiLCJPdXRzaWRlUGVyY2VudGFnZVNoYXBlTmFtZSI6bnVsbCwiSW5zaWRlUGVyY2VudGFnZVNoYXBlTmFtZSI6bnVsbH0seyJUYXNrSWQiOiI1MGRmNGFkZC1hMjlhLTQ5NGMtYmUwZS05ZTg0Njg2NTk4NmIiLCJUaXRsZVNoYXBlTmFtZSI6IlRleHRCb3ggMzg1ODYiLCJEdXJhdGlvblRleHRTaGFwZU5hbWUiOiJUZXh0Qm94IDM4NTk2IiwiU2VnbWVudFNoYXBlTmFtZSI6IlJvdW5kZWQgUmVjdGFuZ2xlIDM4NTgyIiwiVmVydGljYWxMZWZ0Q29ubmVjdG9yU2hhcGVOYW1lIjoiU3RyYWlnaHQgQ29ubmVjdG9yIDM4NjAzIiwiVmVydGljYWxSaWdodENvbm5lY3RvclNoYXBlTmFtZSI6IlN0cmFpZ2h0IENvbm5lY3RvciAzODYwNSIsIkhvcml6b250YWxDb25uZWN0b3JTaGFwZU5hbWUiOiJTdHJhaWdodCBDb25uZWN0b3IgMzg2MDAiLCJMZWZ0RGF0ZVNoYXBlTmFtZSI6IlRleHRCb3ggMzg1OTIiLCJSaWdodERhdGVTaGFwZU5hbWUiOiJUZXh0Qm94IDM4NTkwIiwiT3V0c2lkZVBlcmNlbnRhZ2VTaGFwZU5hbWUiOm51bGwsIkluc2lkZVBlcmNlbnRhZ2VTaGFwZU5hbWUiOm51bGx9LHsiVGFza0lkIjoiZWI5NTQyNzUtYzViNS00YmU1LTkwYmUtZTNkMTdiMGNlOGEzIiwiVGl0bGVTaGFwZU5hbWUiOiJUZXh0Qm94IDM4NjEzIiwiRHVyYXRpb25UZXh0U2hhcGVOYW1lIjoiVGV4dEJveCAzODYyNCIsIlNlZ21lbnRTaGFwZU5hbWUiOiJSb3VuZGVkIFJlY3RhbmdsZSAzODYwOSIsIlZlcnRpY2FsTGVmdENvbm5lY3RvclNoYXBlTmFtZSI6IlN0cmFpZ2h0IENvbm5lY3RvciAzODYzMCIsIlZlcnRpY2FsUmlnaHRDb25uZWN0b3JTaGFwZU5hbWUiOiJTdHJhaWdodCBDb25uZWN0b3IgMzg2MzMiLCJIb3Jpem9udGFsQ29ubmVjdG9yU2hhcGVOYW1lIjoiU3RyYWlnaHQgQ29ubmVjdG9yIDM4NjI4IiwiTGVmdERhdGVTaGFwZU5hbWUiOiJUZXh0Qm94IDM4NjIwIiwiUmlnaHREYXRlU2hhcGVOYW1lIjoiVGV4dEJveCAzODYxNyIsIk91dHNpZGVQZXJjZW50YWdlU2hhcGVOYW1lIjpudWxsLCJJbnNpZGVQZXJjZW50YWdlU2hhcGVOYW1lIjpudWxsfSx7IlRhc2tJZCI6IjdlZTkzNjdkLTgzZTctNDMxMi1hZGFhLTZkNGJjZjIyMmY3NSIsIlRpdGxlU2hhcGVOYW1lIjoiVGV4dEJveCAzODY0MSIsIkR1cmF0aW9uVGV4dFNoYXBlTmFtZSI6IlRleHRCb3ggMzg2NTIiLCJTZWdtZW50U2hhcGVOYW1lIjoiUm91bmRlZCBSZWN0YW5nbGUgMzg2MzciLCJWZXJ0aWNhbExlZnRDb25uZWN0b3JTaGFwZU5hbWUiOiJTdHJhaWdodCBDb25uZWN0b3IgMzg2NTgiLCJWZXJ0aWNhbFJpZ2h0Q29ubmVjdG9yU2hhcGVOYW1lIjoiU3RyYWlnaHQgQ29ubmVjdG9yIDM4NjYwIiwiSG9yaXpvbnRhbENvbm5lY3RvclNoYXBlTmFtZSI6IlN0cmFpZ2h0IENvbm5lY3RvciAzODY1NSIsIkxlZnREYXRlU2hhcGVOYW1lIjoiVGV4dEJveCAzODY0NyIsIlJpZ2h0RGF0ZVNoYXBlTmFtZSI6IlRleHRCb3ggMzg2NDQiLCJPdXRzaWRlUGVyY2VudGFnZVNoYXBlTmFtZSI6bnVsbCwiSW5zaWRlUGVyY2VudGFnZVNoYXBlTmFtZSI6bnVsbH0seyJUYXNrSWQiOiJlNWI2MmQ2OC00ZGFmLTRjODItODE3ZS02NGIxZWU3Mzk0YWMiLCJUaXRsZVNoYXBlTmFtZSI6IlRleHRCb3ggMzg2NjgiLCJEdXJhdGlvblRleHRTaGFwZU5hbWUiOiJUZXh0Qm94IDM4Njc4IiwiU2VnbWVudFNoYXBlTmFtZSI6IlJvdW5kZWQgUmVjdGFuZ2xlIDM4NjY0IiwiVmVydGljYWxMZWZ0Q29ubmVjdG9yU2hhcGVOYW1lIjoiU3RyYWlnaHQgQ29ubmVjdG9yIDM4Njg2IiwiVmVydGljYWxSaWdodENvbm5lY3RvclNoYXBlTmFtZSI6IlN0cmFpZ2h0IENvbm5lY3RvciAzODY4OCIsIkhvcml6b250YWxDb25uZWN0b3JTaGFwZU5hbWUiOiJTdHJhaWdodCBDb25uZWN0b3IgMzg2ODMiLCJMZWZ0RGF0ZVNoYXBlTmFtZSI6IlRleHRCb3ggMzg2NzUiLCJSaWdodERhdGVTaGFwZU5hbWUiOiJUZXh0Qm94IDM4NjcyIiwiT3V0c2lkZVBlcmNlbnRhZ2VTaGFwZU5hbWUiOm51bGwsIkluc2lkZVBlcmNlbnRhZ2VTaGFwZU5hbWUiOm51bGx9LHsiVGFza0lkIjoiZDk0NTcyOGUtOTZlOC00NDUzLTliM2MtMDE4YzJiZThhODY5IiwiVGl0bGVTaGFwZU5hbWUiOiJUZXh0Qm94IDM4Njk2IiwiRHVyYXRpb25UZXh0U2hhcGVOYW1lIjoiVGV4dEJveCAzODcwNiIsIlNlZ21lbnRTaGFwZU5hbWUiOiJSb3VuZGVkIFJlY3RhbmdsZSAzODY5MiIsIlZlcnRpY2FsTGVmdENvbm5lY3RvclNoYXBlTmFtZSI6IlN0cmFpZ2h0IENvbm5lY3RvciAzODcxMiIsIlZlcnRpY2FsUmlnaHRDb25uZWN0b3JTaGFwZU5hbWUiOiJTdHJhaWdodCBDb25uZWN0b3IgMzg3MTUiLCJIb3Jpem9udGFsQ29ubmVjdG9yU2hhcGVOYW1lIjoiU3RyYWlnaHQgQ29ubmVjdG9yIDM4NzEwIiwiTGVmdERhdGVTaGFwZU5hbWUiOiJUZXh0Qm94IDM4NzAyIiwiUmlnaHREYXRlU2hhcGVOYW1lIjoiVGV4dEJveCAzODY5OSIsIk91dHNpZGVQZXJjZW50YWdlU2hhcGVOYW1lIjpudWxsLCJJbnNpZGVQZXJjZW50YWdlU2hhcGVOYW1lIjpudWxsfSx7IlRhc2tJZCI6ImM5YjhiNDljLTQzODMtNDY4My1iNGFhLTE0YjY1NjYyOTY4NiIsIlRpdGxlU2hhcGVOYW1lIjoiVGV4dEJveCAzODcyMyIsIkR1cmF0aW9uVGV4dFNoYXBlTmFtZSI6IlRleHRCb3ggMzg3MzMiLCJTZWdtZW50U2hhcGVOYW1lIjoiUm91bmRlZCBSZWN0YW5nbGUgMzg3MjAiLCJWZXJ0aWNhbExlZnRDb25uZWN0b3JTaGFwZU5hbWUiOiJTdHJhaWdodCBDb25uZWN0b3IgMzg3NDAiLCJWZXJ0aWNhbFJpZ2h0Q29ubmVjdG9yU2hhcGVOYW1lIjoiU3RyYWlnaHQgQ29ubmVjdG9yIDM4NzQzIiwiSG9yaXpvbnRhbENvbm5lY3RvclNoYXBlTmFtZSI6IlN0cmFpZ2h0IENvbm5lY3RvciAzODczOCIsIkxlZnREYXRlU2hhcGVOYW1lIjoiVGV4dEJveCAzODczMCIsIlJpZ2h0RGF0ZVNoYXBlTmFtZSI6IlRleHRCb3ggMzg3MjciLCJPdXRzaWRlUGVyY2VudGFnZVNoYXBlTmFtZSI6bnVsbCwiSW5zaWRlUGVyY2VudGFnZVNoYXBlTmFtZSI6bnVsbH0seyJUYXNrSWQiOiJlMGJmNTY5Yy02Nzg1LTQyMjUtYTM3ZC0zZWY4NjM5ZDEyZTEiLCJUaXRsZVNoYXBlTmFtZSI6IlRleHRCb3ggMzg3NTIiLCJEdXJhdGlvblRleHRTaGFwZU5hbWUiOiJUZXh0Qm94IDM4NzY1IiwiU2VnbWVudFNoYXBlTmFtZSI6IlJvdW5kZWQgUmVjdGFuZ2xlIDM4NzQ3IiwiVmVydGljYWxMZWZ0Q29ubmVjdG9yU2hhcGVOYW1lIjoiU3RyYWlnaHQgQ29ubmVjdG9yIDM4NzczIiwiVmVydGljYWxSaWdodENvbm5lY3RvclNoYXBlTmFtZSI6IlN0cmFpZ2h0IENvbm5lY3RvciAzODc3NiIsIkhvcml6b250YWxDb25uZWN0b3JTaGFwZU5hbWUiOiJTdHJhaWdodCBDb25uZWN0b3IgMzg3NzAiLCJMZWZ0RGF0ZVNoYXBlTmFtZSI6IlRleHRCb3ggMzg3NjAiLCJSaWdodERhdGVTaGFwZU5hbWUiOiJUZXh0Qm94IDM4NzU3IiwiT3V0c2lkZVBlcmNlbnRhZ2VTaGFwZU5hbWUiOm51bGwsIkluc2lkZVBlcmNlbnRhZ2VTaGFwZU5hbWUiOm51bGx9LHsiVGFza0lkIjoiYzBjMDU1YWQtMTcyNi00ZmRjLWJmMjEtM2NmNzYyYjQ0NzBkIiwiVGl0bGVTaGFwZU5hbWUiOiJUZXh0Qm94IDM4Nzg2IiwiRHVyYXRpb25UZXh0U2hhcGVOYW1lIjoiVGV4dEJveCAzODc5OSIsIlNlZ21lbnRTaGFwZU5hbWUiOiJSb3VuZGVkIFJlY3RhbmdsZSAzODc4MSIsIlZlcnRpY2FsTGVmdENvbm5lY3RvclNoYXBlTmFtZSI6IlN0cmFpZ2h0IENvbm5lY3RvciAzODgwNyIsIlZlcnRpY2FsUmlnaHRDb25uZWN0b3JTaGFwZU5hbWUiOiJTdHJhaWdodCBDb25uZWN0b3IgMzg4MTAiLCJIb3Jpem9udGFsQ29ubmVjdG9yU2hhcGVOYW1lIjoiU3RyYWlnaHQgQ29ubmVjdG9yIDM4ODA0IiwiTGVmdERhdGVTaGFwZU5hbWUiOiJUZXh0Qm94IDM4Nzk0IiwiUmlnaHREYXRlU2hhcGVOYW1lIjoiVGV4dEJveCAzODc5MSIsIk91dHNpZGVQZXJjZW50YWdlU2hhcGVOYW1lIjpudWxsLCJJbnNpZGVQZXJjZW50YWdlU2hhcGVOYW1lIjpudWxsfSx7IlRhc2tJZCI6ImFmZjRmODU1LTU0ZWMtNGI0Ny1hYTRmLTk1ZjdiZjgyZGE0NSIsIlRpdGxlU2hhcGVOYW1lIjoiVGV4dEJveCAzODgyMCIsIkR1cmF0aW9uVGV4dFNoYXBlTmFtZSI6IlRleHRCb3ggMzg4MzMiLCJTZWdtZW50U2hhcGVOYW1lIjoiUm91bmRlZCBSZWN0YW5nbGUgMzg4MTUiLCJWZXJ0aWNhbExlZnRDb25uZWN0b3JTaGFwZU5hbWUiOiJTdHJhaWdodCBDb25uZWN0b3IgMzg4NDEiLCJWZXJ0aWNhbFJpZ2h0Q29ubmVjdG9yU2hhcGVOYW1lIjoiU3RyYWlnaHQgQ29ubmVjdG9yIDM4ODQ0IiwiSG9yaXpvbnRhbENvbm5lY3RvclNoYXBlTmFtZSI6IlN0cmFpZ2h0IENvbm5lY3RvciAzODgzOCIsIkxlZnREYXRlU2hhcGVOYW1lIjoiVGV4dEJveCAzODgyOCIsIlJpZ2h0RGF0ZVNoYXBlTmFtZSI6IlRleHRCb3ggMzg4MjUiLCJPdXRzaWRlUGVyY2VudGFnZVNoYXBlTmFtZSI6bnVsbCwiSW5zaWRlUGVyY2VudGFnZVNoYXBlTmFtZSI6bnVsbH0seyJUYXNrSWQiOiJhYzQ0Y2QwZS1iMjJjLTQ3MzAtODE4Mi1hMzg4NjExYjljMDEiLCJUaXRsZVNoYXBlTmFtZSI6IlRleHRCb3ggMzg4NTQiLCJEdXJhdGlvblRleHRTaGFwZU5hbWUiOiJUZXh0Qm94IDM4ODY3IiwiU2VnbWVudFNoYXBlTmFtZSI6IlJvdW5kZWQgUmVjdGFuZ2xlIDM4ODQ5IiwiVmVydGljYWxMZWZ0Q29ubmVjdG9yU2hhcGVOYW1lIjoiU3RyYWlnaHQgQ29ubmVjdG9yIDM4ODc1IiwiVmVydGljYWxSaWdodENvbm5lY3RvclNoYXBlTmFtZSI6IlN0cmFpZ2h0IENvbm5lY3RvciAzODg3OCIsIkhvcml6b250YWxDb25uZWN0b3JTaGFwZU5hbWUiOiJTdHJhaWdodCBDb25uZWN0b3IgMzg4NzEiLCJMZWZ0RGF0ZVNoYXBlTmFtZSI6IlRleHRCb3ggMzg4NjIiLCJSaWdodERhdGVTaGFwZU5hbWUiOiJUZXh0Qm94IDM4ODU5IiwiT3V0c2lkZVBlcmNlbnRhZ2VTaGFwZU5hbWUiOm51bGwsIkluc2lkZVBlcmNlbnRhZ2VTaGFwZU5hbWUiOm51bGx9XSwiVGltZWJhbmQiOnsiRWxhcHNlZFRpbWVTaGFwZU5hbWUiOiJSb3VuZGVkIFJlY3RhbmdsZSAzODI5MyIsIlRvZGF5TWFya2VyU2hhcGVOYW1lIjoiSXNvc2NlbGVzIFRyaWFuZ2xlIDM4Mjk1IiwiVG9kYXlNYXJrZXJUZXh0U2hhcGVOYW1lIjoiVGV4dEJveCAzODI5NyIsIlJpZ2h0RW5kQ2Fwc1NoYXBlTmFtZSI6bnVsbCwiTGVmdEVuZENhcHNTaGFwZU5hbWUiOm51bGwsIkVsYXBzZWRSZWN0YW5nbGVTaGFwZU5hbWUiOm51bGwsIlNlZ21lbnRTaGFwZXNOYW1lcyI6WyJSb3VuZGVkIFJlY3RhbmdsZSA4IiwiVGV4dEJveCAxMCIsIlRleHRCb3ggMTIiLCJUZXh0Qm94IDE3IiwiVGV4dEJveCAyMSIsIlRleHRCb3ggMjUiLCJUZXh0Qm94IDMwIiwiVGV4dEJveCAzODI3MyIsIlRleHRCb3ggMzgyNzciLCJUZXh0Qm94IDM4Mjc5IiwiVGV4dEJveCAzODI4MyIsIlRleHRCb3ggMzgyODciLCJUZXh0Qm94IDM4MjkxIl19fSwiRWRpdGlvbiI6MSwiSXNQbHVzRWRpdGlvbiI6dHJ1ZSwiQ3VsdHVyZUluZm9OYW1lIjoiZW4tVVMiLCJWZXJzaW9uIjoiMi4zLjAuMCIsIk9yaWdpbmFsQXNzZW1ibHlWZXJzaW9uIjoiMS4wMC4wMC4wMCIsIk1pbGVzdG9uZXMiOlt7IkRhdGVGb3JtYXQiOnsiRm9ybWF0U3RyaW5nIjoiTS9kL3l5eXkiLCJTZXBhcmF0b3IiOiIvIiwiVXNlSW50ZXJuYXRpb25hbERhdGVGb3JtYXQiOmZhbHNlfSwiSW50ZXJuYWxJZCI6ImUxOTk3ODMwLWU5MTYtNGYxOC05N2JhLTI3OTRhZGY1MjBmNSIsIlRpdGxlTGVmdCI6MTAzLjYyMzU0MywiVGl0bGVUb3AiOjEyNS42MTcxNjUsIlRpdGxlSGVpZ2h0IjoxMC42NjMxNSwiVGl0bGVUb3BJc0N1c3RvbSI6dHJ1ZSwiVGl0bGVXaWR0aCI6NDkuMjUsIkNvbG9yIjoiMjQ0LCAxNTcsIDAiLCJVdGNEYXRlIjoiMjAxNC0wNi0xOFQwMDowMDowMFoiLCJOb3RlIjpudWxsLCJUaXRsZSI6IiBLaWNrLU9mZiIsIlN0eWxlIjo3LCJCZWxvd1RpbWViYW5kIjp0cnVlLCJDdXN0b21TZXR0aW5ncyI6eyJJc0RhdGVWaXNpYmxlIjp0cnVlLCJUaXRsZUZvbnRTZXR0aW5ncyI6eyJGb250U2l6ZSI6MTEsIkZvbnROYW1lIjoiQ2VudHVyeSBHb3RoaWMiLCJJc0JvbGQiOnRydWUsIklzSXRhbGljIjpmYWxzZSwiSXNVbmRlcmxpbmVkIjpmYWxzZSwiRm9yZWdyb3VuZENvbG9yIjoiODAsIDgwLCA3MC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yNDQsIDE1NywgMCIsIklzVmlzaWJsZSI6ZmFsc2UsIkxpbmVXZWlnaHQiOjAuMX19LCJIaWRlRGF0ZSI6ZmFsc2UsIlNoYXBlVG9wIjo5Ny41LCJRdWlja1NoYXBlU2l6ZSI6MCwiSXNWaXNpYmxlIjp0cnVlfSx7IkRhdGVGb3JtYXQiOnsiRm9ybWF0U3RyaW5nIjoiTS9kL3l5eXkiLCJTZXBhcmF0b3IiOiIvIiwiVXNlSW50ZXJuYXRpb25hbERhdGVGb3JtYXQiOmZhbHNlfSwiSW50ZXJuYWxJZCI6ImYwM2RlNDllLTk4ZDMtNGIxNS04ODFjLWViYzI5ZWQzZWFmOSIsIlRpdGxlTGVmdCI6MjY2Ljg1MjIsIlRpdGxlVG9wIjo0NC42MTg2NiwiVGl0bGVIZWlnaHQiOjEwLjY2MzE1LCJUaXRsZVRvcElzQ3VzdG9tIjp0cnVlLCJUaXRsZVdpZHRoIjo2MC43NSwiQ29sb3IiOiIyMzIsIDc2LCAzNCIsIlV0Y0RhdGUiOiIyMDE0LTA5LTI0VDAwOjAwOjAwWiIsIk5vdGUiOm51bGwsIlRpdGxlIjoiVmFsaWRhdGlvbiAiLCJTdHlsZSI6NS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jYzZGE2MTIzLWZiNDMtNDE5YS1hODVlLWI4M2RmMGM5NzlmNiIsIlRpdGxlTGVmdCI6NDE4LjExMzg2MSwiVGl0bGVUb3AiOjM0LjA1NjYxMzksIlRpdGxlSGVpZ2h0IjoyMS4zMjYyMiwiVGl0bGVUb3BJc0N1c3RvbSI6ZmFsc2UsIlRpdGxlV2lkdGgiOjU4LjI1LCJDb2xvciI6IjIzMiwgNzYsIDM0IiwiVXRjRGF0ZSI6IjIwMTQtMTItMjBUMDA6MDA6MDBaIiwiTm90ZSI6bnVsbCwiVGl0bGUiOiJNaW5pbWFsIFByb3RvdHlwZSAiLCJTdHlsZSI6NywiQmVsb3dUaW1lYmFuZCI6ZmFsc2UsIkN1c3RvbVNldHRpbmdzIjp7IklzRGF0ZVZpc2libGUiOnRydWUsIlRpdGxlRm9udFNldHRpbmdzIjp7IkZvbnRTaXplIjoxMSwiRm9udE5hbWUiOiJDZW50dXJ5IEdvdGhpYyIsIklzQm9sZCI6ZmFsc2UsIklzSXRhbGljIjpmYWxzZSwiSXNVbmRlcmxpbmVkIjpmYWxz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jIzMiwgNzYsIDM0IiwiSXNWaXNpYmxlIjpmYWxzZSwiTGluZVdlaWdodCI6MC4xfX0sIkhpZGVEYXRlIjpmYWxzZSwiU2hhcGVUb3AiOjQyMS41LCJRdWlja1NoYXBlU2l6ZSI6MCwiSXNWaXNpYmxlIjp0cnVlfSx7IkRhdGVGb3JtYXQiOnsiRm9ybWF0U3RyaW5nIjoiTS9kL3l5eXkiLCJTZXBhcmF0b3IiOiIvIiwiVXNlSW50ZXJuYXRpb25hbERhdGVGb3JtYXQiOmZhbHNlfSwiSW50ZXJuYWxJZCI6ImM1ZjBiMGFhLWRmZGMtNDg4ZC04OGU4LTExYTExMTZhYzFjNyIsIlRpdGxlTGVmdCI6NTkzLjMwMjA2MywiVGl0bGVUb3AiOjM0LjA1NjYxMzksIlRpdGxlSGVpZ2h0IjoyMS4zMjYyMiwiVGl0bGVUb3BJc0N1c3RvbSI6dHJ1ZSwiVGl0bGVXaWR0aCI6NTkuNjI1MDQsIkNvbG9yIjoiMjMyLCA3NiwgMzQiLCJVdGNEYXRlIjoiMjAxNS0wNC0wMVQwMDowMDowMFoiLCJOb3RlIjpudWxsLCJUaXRsZSI6IkludGVncmF0ZWQgUHJvdG90eXBlIiwiU3R5bGUiOjcsIkJlbG93VGltZWJhbmQiOmZhbHNlLCJDdXN0b21TZXR0aW5ncyI6eyJJc0RhdGVWaXNpYmxlIjp0cnVlLCJUaXRsZUZvbnRTZXR0aW5ncyI6eyJGb250U2l6ZSI6MTEsIkZvbnROYW1lIjoiQ2VudHVyeSBHb3RoaWMiLCJJc0JvbGQiOmZhbHNlLCJJc0l0YWxpYyI6ZmFsc2UsIklzVW5kZXJsaW5lZCI6ZmFsc2UsIkZvcmVncm91bmRDb2xvciI6IjI1NSwgMTMyLCAzOSIsIkJhY2tDb2xvciI6bnVsbH0sIkRhdGVGb250U2V0dGluZ3MiOnsiRm9udFNpemUiOjEwLCJGb250TmFtZSI6IkNlbnR1cnkgR290aGljIiwiSXNCb2xkIjpmYWxzZSwiSXNJdGFsaWMiOmZhbHNlLCJJc1VuZGVybGluZWQiOmZhbHNlLCJGb3JlZ3JvdW5kQ29sb3IiOiI4MCwgODAsIDcwIiwiQmFja0NvbG9yIjpudWxsfSwiQ29ubmVjdG9yU2V0dGluZ3MiOnsiQ29sb3IiOiIyMzIsIDc2LCAzNCIsIklzVmlzaWJsZSI6ZmFsc2UsIkxpbmVXZWlnaHQiOjAuMX19LCJIaWRlRGF0ZSI6ZmFsc2UsIlNoYXBlVG9wIjo0MjEuNSwiUXVpY2tTaGFwZVNpemUiOjAsIklzVmlzaWJsZSI6dHJ1ZX0seyJEYXRlRm9ybWF0Ijp7IkZvcm1hdFN0cmluZyI6Ik0vZC95eXl5IiwiU2VwYXJhdG9yIjoiLyIsIlVzZUludGVybmF0aW9uYWxEYXRlRm9ybWF0IjpmYWxzZX0sIkludGVybmFsSWQiOiJkYmI1MGY1Ni0zM2JmLTQ0M2YtOTI0YS05YjJhNmMxOTRiZjkiLCJUaXRsZUxlZnQiOjY3OS4wMTU3LCJUaXRsZVRvcCI6MjkuMzkzNDY1LCJUaXRsZUhlaWdodCI6MTAuNjYzMTUsIlRpdGxlVG9wSXNDdXN0b20iOnRydWUsIlRpdGxlV2lkdGgiOjYwLjYyNTA0LCJDb2xvciI6IjE0NiwgMjA4LCA4MCIsIlV0Y0RhdGUiOiIyMDE1LTA1LTIxVDAwOjAwOjAwWiIsIk5vdGUiOm51bGwsIlRpdGxlIjoiSW50ZWdyYXRpb24iLCJTdHlsZSI6NSwiQmVsb3dUaW1lYmFuZCI6ZmFsc2UsIkN1c3RvbVNldHRpbmdzIjp7IklzRGF0ZVZpc2libGUiOnRydWUsIlRpdGxlRm9udFNldHRpbmdzIjp7IkZvbnRTaXplIjoxMSwiRm9udE5hbWUiOiJDZW50dXJ5IEdvdGhpYyIsIklzQm9sZCI6dHJ1ZSwiSXNJdGFsaWMiOnRydWUsIklzVW5kZXJsaW5lZCI6dHJ1ZSwiRm9yZWdyb3VuZENvbG9yIjoiMjU1LCAxMzIsIDM5IiwiQmFja0NvbG9yIjpudWxsfSwiRGF0ZUZvbnRTZXR0aW5ncyI6eyJGb250U2l6ZSI6MTAsIkZvbnROYW1lIjoiQ2VudHVyeSBHb3RoaWMiLCJJc0JvbGQiOmZhbHNlLCJJc0l0YWxpYyI6ZmFsc2UsIklzVW5kZXJsaW5lZCI6ZmFsc2UsIkZvcmVncm91bmRDb2xvciI6IjgwLCA4MCwgNzAiLCJCYWNrQ29sb3IiOm51bGx9LCJDb25uZWN0b3JTZXR0aW5ncyI6eyJDb2xvciI6IkJsYWNrIiwiSXNWaXNpYmxlIjpmYWxzZSwiTGluZVdlaWdodCI6MC4xfX0sIkhpZGVEYXRlIjpmYWxzZSwiU2hhcGVUb3AiOjcwLjUsIlF1aWNrU2hhcGVTaXplIjowLCJJc1Zpc2libGUiOnRydWV9LHsiRGF0ZUZvcm1hdCI6eyJGb3JtYXRTdHJpbmciOiJNL2QveXl5eSIsIlNlcGFyYXRvciI6Ii8iLCJVc2VJbnRlcm5hdGlvbmFsRGF0ZUZvcm1hdCI6ZmFsc2V9LCJJbnRlcm5hbElkIjoiZDg2ZTE1MmEtMjc5MC00NTg4LWFhNjItOTQ3NzllMWRmYmU5IiwiVGl0bGVMZWZ0Ijo4MDAuODc2NSwiVGl0bGVUb3AiOjEyNS42MTcxNjUsIlRpdGxlSGVpZ2h0IjoxMC42NjMxNSwiVGl0bGVUb3BJc0N1c3RvbSI6dHJ1ZSwiVGl0bGVXaWR0aCI6NjEuNzUsIkNvbG9yIjoiMjQ0LCAxNTcsIDAiLCJVdGNEYXRlIjoiMjAxNS0wNy0zMVQwMDowMDowMFoiLCJOb3RlIjpudWxsLCJUaXRsZSI6IlN1Ym1pc3Npb24iLCJTdHlsZSI6NywiQmVsb3dUaW1lYmFuZCI6dHJ1ZSwiQ3VzdG9tU2V0dGluZ3MiOnsiSXNEYXRlVmlzaWJsZSI6dHJ1ZSwiVGl0bGVGb250U2V0dGluZ3MiOnsiRm9udFNpemUiOjExLCJGb250TmFtZSI6IkNlbnR1cnkgR290aGljIiwiSXNCb2xkIjp0cnVlLCJJc0l0YWxpYyI6ZmFsc2UsIklzVW5kZXJsaW5lZCI6ZmFsc2UsIkZvcmVncm91bmRDb2xvciI6IjgwLCA4MCwgNzAiLCJCYWNrQ29sb3IiOm51bGx9LCJEYXRlRm9udFNldHRpbmdzIjp7IkZvbnRTaXplIjoxMCwiRm9udE5hbWUiOiJDZW50dXJ5IEdvdGhpYyIsIklzQm9sZCI6ZmFsc2UsIklzSXRhbGljIjpmYWxzZSwiSXNVbmRlcmxpbmVkIjpmYWxzZSwiRm9yZWdyb3VuZENvbG9yIjoiMTc4LCAzOCwgMCIsIkJhY2tDb2xvciI6bnVsbH0sIkNvbm5lY3RvclNldHRpbmdzIjp7IkNvbG9yIjoiMjQ0LCAxNTcsIDAiLCJJc1Zpc2libGUiOmZhbHNlLCJMaW5lV2VpZ2h0IjowLjF9fSwiSGlkZURhdGUiOmZhbHNlLCJTaGFwZVRvcCI6OTcuNSwiUXVpY2tTaGFwZVNpemUiOjAsIklzVmlzaWJsZSI6dHJ1ZX1dLCJUaW1lTGluZVR5cGUiOjIsIlRhc2tzIjpbeyJEdXJhdGlvblZhbHVlIjoyNy4wLCJEdXJhdGlvbkZvcm1hdCI6MCwiSW50ZXJuYWxJZCI6ImYzYzc3MGQ4LWE2YTItNDIzOC1hNTdiLTM3M2VmOTk4NDU1MCIsIkluZGV4IjoxLCJDb2xvciI6IjgwLCA4MCwgNzAiLCJVdGNTdGFydERhdGUiOiIyMDE0LTA2LTI1VDAwOjAwOjAwWiIsIk5vdGUiOm51bGwsIlV0Y0VuZERhdGUiOiIyMDE0LTA3LTIxVDAwOjAwOjAwWiIsIlRpdGxlIjoiUmVxdWlyZW1lbnRzIiwiU2hhcGUiOjEsIkN1c3RvbVNldHRpbmdzIjp7IlRpdGxlV2lkdGgiOjY3LjAyMzI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1LjAsIkR1cmF0aW9uRm9ybWF0IjowLCJJbnRlcm5hbElkIjoiYzNkNjg1ZDUtYWU4NS00ZmIxLTg1OTItNWU1MjdlNTM0ZjI4IiwiSW5kZXgiOjIsIkNvbG9yIjoiMTc4LCAzOCwgMCIsIlV0Y1N0YXJ0RGF0ZSI6IjIwMTQtMDctMDVUMDA6MDA6MDBaIiwiTm90ZSI6bnVsbCwiVXRjRW5kRGF0ZSI6IjIwMTQtMDgtMDhUMDA6MDA6MDBaIiwiVGl0bGUiOiJWYWxpZGF0aW9uICIsIlNoYXBlIjoxLCJDdXN0b21TZXR0aW5ncyI6eyJUaXRsZVdpZHRoIjo2Mi42MzA3ODY5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5LjAsIkR1cmF0aW9uRm9ybWF0IjowLCJJbnRlcm5hbElkIjoiYTUyMTc4M2MtZjMwOC00MzEzLWFmNzYtMGNkOWMyOTIzZTNjIiwiSW5kZXgiOjMsIkNvbG9yIjoiODAsIDgwLCA3MCIsIlV0Y1N0YXJ0RGF0ZSI6IjIwMTQtMDctMjVUMDA6MDA6MDBaIiwiTm90ZSI6bnVsbCwiVXRjRW5kRGF0ZSI6IjIwMTQtMDktMDFUMDA6MDA6MDBaIiwiVGl0bGUiOiJEYXRhIEFuYWx5c2lzIiwiU2hhcGUiOjEsIkN1c3RvbVNldHRpbmdzIjp7IlRpdGxlV2lkdGgiOjc0LjM2OTIx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mYWxz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C4wLCJEdXJhdGlvbkZvcm1hdCI6MCwiSW50ZXJuYWxJZCI6IjljZGU2ZDVkLTMwN2ItNGRmNy1iMTQ2LTQyNDhjYWI3ZmVmNiIsIkluZGV4Ijo0LCJDb2xvciI6IjE3OCwgMzgsIDAiLCJVdGNTdGFydERhdGUiOiIyMDE0LTA4LTExVDAwOjAwOjAwWiIsIk5vdGUiOm51bGwsIlV0Y0VuZERhdGUiOiIyMDE0LTA5LTEzVDAwOjAwOjAwWiIsIlRpdGxlIjoiQXJjaGl0ZWN0dXJhbCBSZXZpZXciLCJTaGFwZSI6MSwiQ3VzdG9tU2V0dGluZ3MiOnsiVGl0bGVXaWR0aCI6MTA4LjE5NjM4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0Mi4wLCJEdXJhdGlvbkZvcm1hdCI6MCwiSW50ZXJuYWxJZCI6IjZhNmU3MTQ5LTY2MWMtNGQ5OC1hZTIyLWI5YTg0YTIwYzBjZCIsIkluZGV4Ijo1LCJDb2xvciI6IjgwLCA4MCwgNzAiLCJVdGNTdGFydERhdGUiOiIyMDE0LTA4LTI1VDAwOjAwOjAwWiIsIk5vdGUiOm51bGwsIlV0Y0VuZERhdGUiOiIyMDE0LTEwLTA1VDAwOjAwOjAwWiIsIlRpdGxlIjoiU3lzdGVtIERlc2lnbiIsIlNoYXBlIjoxLCJDdXN0b21TZXR0aW5ncyI6eyJUaXRsZVdpZHRoIjo3OS42NzA0Ny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ZmFsc2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zguMCwiRHVyYXRpb25Gb3JtYXQiOjAsIkludGVybmFsSWQiOiJkYjUyODIwZS04OTYyLTRjMmYtYTQwNi04NzZkYWI5YjM2NjAiLCJJbmRleCI6NiwiQ29sb3IiOiIxNzgsIDM4LCAwIiwiVXRjU3RhcnREYXRlIjoiMjAxNC0wOS0wN1QwMDowMDowMFoiLCJOb3RlIjpudWxsLCJVdGNFbmREYXRlIjoiMjAxNC0xMC0xNFQwMDowMDowMFoiLCJUaXRsZSI6IkRhdGFiYXNlIiwiU2hhcGUiOjEsIkN1c3RvbVNldHRpbmdzIjp7IlRpdGxlV2lkdGgiOjQ5LjIyNjA2Mjg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2LjAsIkR1cmF0aW9uRm9ybWF0IjowLCJJbnRlcm5hbElkIjoiMzZmNzgxOGQtMDFhMS00MGI1LTg3MTYtYTBlZWE0OTcyNDI1IiwiSW5kZXgiOjcsIkNvbG9yIjoiODAsIDgwLCA3MCIsIlV0Y1N0YXJ0RGF0ZSI6IjIwMTQtMDktMjVUMDA6MDA6MDBaIiwiTm90ZSI6bnVsbCwiVXRjRW5kRGF0ZSI6IjIwMTQtMTAtMjBUMDA6MDA6MDBaIiwiVGl0bGUiOiJEYXRhIEltcHJvdmUiLCJTaGFwZSI6MSwiQ3VzdG9tU2V0dGluZ3MiOnsiVGl0bGVXaWR0aCI6NjguMDMyOTk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NjMuMCwiRHVyYXRpb25Gb3JtYXQiOjAsIkludGVybmFsSWQiOiJkYmM1MDMxOC03NDNmLTRkNmItYTk5NS1mYjNlN2I0MTg3ZDciLCJJbmRleCI6OCwiQ29sb3IiOiIxNzgsIDM4LCAwIiwiVXRjU3RhcnREYXRlIjoiMjAxNC0xMC0xNVQwMDowMDowMFoiLCJOb3RlIjpudWxsLCJVdGNFbmREYXRlIjoiMjAxNC0xMi0xNlQwMDowMDowMFoiLCJUaXRsZSI6IkNvZGluZyIsIlNoYXBlIjoxLCJDdXN0b21TZXR0aW5ncyI6eyJUaXRsZVdpZHRoIjo0NS41OTA5NDYy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wLjAsIkR1cmF0aW9uRm9ybWF0IjowLCJJbnRlcm5hbElkIjoiNTBkZjRhZGQtYTI5YS00OTRjLWJlMGUtOWU4NDY4NjU5ODZiIiwiSW5kZXgiOjksIkNvbG9yIjoiODAsIDgwLCA3MCIsIlV0Y1N0YXJ0RGF0ZSI6IjIwMTQtMTItMTJUMDA6MDA6MDBaIiwiTm90ZSI6bnVsbCwiVXRjRW5kRGF0ZSI6IjIwMTQtMTItMzFUMDA6MDA6MDBaIiwiVGl0bGUiOiJXZWJzaXRlIFRlc3RpbmciLCJTaGFwZSI6MSwiQ3VzdG9tU2V0dGluZ3MiOnsiVGl0bGVXaWR0aCI6ODYuNzM4O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ViOTU0Mjc1LWM1YjUtNGJlNS05MGJlLWUzZDE3YjBjZThhMyIsIkluZGV4IjoxMCwiQ29sb3IiOiIxNzgsIDM4LCAwIiwiVXRjU3RhcnREYXRlIjoiMjAxNS0wMS0wMlQwMDowMDowMFoiLCJOb3RlIjpudWxsLCJVdGNFbmREYXRlIjoiMjAxNS0wMi0wNlQwMDowMDowMFoiLCJUaXRsZSI6Ik9ubGluZSBUZXN0aW5nICIsIlNoYXBlIjoxLCJDdXN0b21TZXR0aW5ncyI6eyJUaXRsZVdpZHRoIjo4MS41NjM4Ni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4NS4wLCJEdXJhdGlvbkZvcm1hdCI6MCwiSW50ZXJuYWxJZCI6IjdlZTkzNjdkLTgzZTctNDMxMi1hZGFhLTZkNGJjZjIyMmY3NSIsIkluZGV4IjoxMSwiQ29sb3IiOiI4MCwgODAsIDcwIiwiVXRjU3RhcnREYXRlIjoiMjAxNS0wMS0xNVQwMDowMDowMFoiLCJOb3RlIjpudWxsLCJVdGNFbmREYXRlIjoiMjAxNS0wNC0wOVQwMDowMDowMFoiLCJUaXRsZSI6IkNvZGluZyIsIlNoYXBlIjoxLCJDdXN0b21TZXR0aW5ncyI6eyJUaXRsZVdpZHRoIjozNi4wOTkxMzI1LCJUaXRsZUZvbnRTZXR0aW5ncyI6eyJGb250U2l6ZSI6MTAsIkZvbnROYW1lIjoiQ2VudHVyeSBHb3RoaWMiLCJJc0JvbGQiOnRydWUsIklzSXRhbGljIjpmYWxzZSwiSXNVbmRlcmxpbmVkIjpmYWxzZSwiRm9yZWdyb3VuZENvbG9yIjoiMjU1LCAxMzIsIDM5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y4wfSwiSG9yaXpvbnRhbENvbm5lY3RvclNldHRpbmdzIjp7IkNvbG9yIjoiMjM4LCAyMzYsIDIyNSIsIklzVmlzaWJsZSI6dHJ1ZSwiTGluZVdlaWdodCI6My4wfSwiVGFza1NoYXBlQm9yZGVyU2V0dGluZ3MiOnsiQ29sb3IiOiJSZWQiLCJMaW5lV2VpZ2h0IjowLjB9LCJTbWFydFRpdGxlRm9yZWdyb3VuZCI6IjgwLCA4MCwgNzAiLCJTbWFydFRpdGxlRm9yZWdyb3VuZElzQWN0aXZlIjpmYWxzZSwiU21hcnREdXJhdGlvbkZvcmVncm91bmQiOiJXaGl0ZSIsIlNtYXJ0RHVyYXRpb25Gb3JlZ3JvdW5kSXNBY3RpdmUiOmZhbHN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I1LjAsIkR1cmF0aW9uRm9ybWF0IjowLCJJbnRlcm5hbElkIjoiZTViNjJkNjgtNGRhZi00YzgyLTgxN2UtNjRiMWVlNzM5NGFjIiwiSW5kZXgiOjEyLCJDb2xvciI6IjE3OCwgMzgsIDAiLCJVdGNTdGFydERhdGUiOiIyMDE1LTAzLTI1VDAwOjAwOjAwWiIsIk5vdGUiOm51bGwsIlV0Y0VuZERhdGUiOiIyMDE1LTA0LTE4VDAwOjAwOjAwWiIsIlRpdGxlIjoiU3lzdGVtIFRlc3RpbmcgIiwiU2hhcGUiOjEsIkN1c3RvbVNldHRpbmdzIjp7IlRpdGxlV2lkdGgiOjcyLjU3Njkz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Dk0NTcyOGUtOTZlOC00NDUzLTliM2MtMDE4YzJiZThhODY5IiwiSW5kZXgiOjEzLCJDb2xvciI6IjgwLCA4MCwgNzAiLCJVdGNTdGFydERhdGUiOiIyMDE1LTA0LTAxVDAwOjAwOjAwWiIsIk5vdGUiOm51bGwsIlV0Y0VuZERhdGUiOiIyMDE1LTA1LTAyVDAwOjAwOjAwWiIsIlRpdGxlIjoiU3RhYmlsaXphdGlvbiAiLCJTaGFwZSI6MSwiQ3VzdG9tU2V0dGluZ3MiOnsiVGl0bGVXaWR0aCI6NzEuOTcxMS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zNi4wLCJEdXJhdGlvbkZvcm1hdCI6MCwiSW50ZXJuYWxJZCI6ImM5YjhiNDljLTQzODMtNDY4My1iNGFhLTE0YjY1NjYyOTY4NiIsIkluZGV4IjoxNCwiQ29sb3IiOiIxNzgsIDM4LCAwIiwiVXRjU3RhcnREYXRlIjoiMjAxNS0wNC0xOFQwMDowMDowMFoiLCJOb3RlIjpudWxsLCJVdGNFbmREYXRlIjoiMjAxNS0wNS0yM1QwMDowMDowMFoiLCJUaXRsZSI6IlBlcmZvcm1hbmNlIEVuaGFuY2luZyIsIlNoYXBlIjoxLCJDdXN0b21TZXR0aW5ncyI6eyJUaXRsZVdpZHRoIjoxMjEuODI4MTg2LCJUaXRsZUZvbnRTZXR0aW5ncyI6eyJGb250U2l6ZSI6MTAsIkZvbnROYW1lIjoiQ2VudHVyeSBHb3RoaWMiLCJJc0JvbGQiOmZhbHNlLCJJc0l0YWxpYyI6ZmFsc2UsIklzVW5kZXJsaW5lZCI6ZmFsc2UsIkZvcmVncm91bmRDb2xvciI6IjgwLCA4MCwgNzA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wLjF9LCJIb3Jpem9udGFsQ29ubmVjdG9yU2V0dGluZ3MiOnsiQ29sb3IiOiIyMzgsIDIzNiwgMjI1IiwiSXNWaXNpYmxlIjp0cnVlLCJMaW5lV2VpZ2h0IjowLjF9LCJUYXNrU2hhcGVCb3JkZXJTZXR0aW5ncyI6eyJDb2xvciI6IlJlZCIsIkxpbmVXZWlnaHQiOjAuMH0sIlNtYXJ0VGl0bGVGb3JlZ3JvdW5kIjoiODAsIDgwLCA3MCIsIlNtYXJ0VGl0bGVGb3JlZ3JvdW5kSXNBY3RpdmUiOnRydW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Sx7IkR1cmF0aW9uVmFsdWUiOjMyLjAsIkR1cmF0aW9uRm9ybWF0IjowLCJJbnRlcm5hbElkIjoiZTBiZjU2OWMtNjc4NS00MjI1LWEzN2QtM2VmODYzOWQxMmUxIiwiSW5kZXgiOjE1LCJDb2xvciI6IjgwLCA4MCwgNzAiLCJVdGNTdGFydERhdGUiOiIyMDE1LTA1LTMwVDAwOjAwOjAwWiIsIk5vdGUiOm51bGwsIlV0Y0VuZERhdGUiOiIyMDE1LTA2LTMwVDAwOjAwOjAwWiIsIlRpdGxlIjoiSW50ZWdyYXRpb24gd2l0aCBXZWJzaXRlIiwiU2hhcGUiOjEsIkN1c3RvbVNldHRpbmdzIjp7IlRpdGxlV2lkdGgiOjE4MC4wLCJUaXRsZUZvbnRTZXR0aW5ncyI6eyJGb250U2l6ZSI6MTAsIkZvbnROYW1lIjoiQ2VudHVyeSBHb3RoaWMiLCJJc0JvbGQiOnRydWUsIklzSXRhbGljIjpmYWxzZSwiSXNVbmRlcmxpbmVkIjpmYWxzZSwiRm9yZWdyb3VuZENvbG9yIjoiMTgyLCA3MywgMzgiLCJCYWNrQ29sb3IiOm51bGx9LCJTdGFydERhdGVGb250U2V0dGluZ3MiOnsiRm9udFNpemUiOjksIkZvbnROYW1lIjoiQ2VudHVyeSBHb3RoaWMiLCJJc0JvbGQiOmZhbHNlLCJJc0l0YWxpYyI6ZmFsc2UsIklzVW5kZXJsaW5lZCI6ZmFsc2UsIkZvcmVncm91bmRDb2xvciI6IjIzMiwgNzYsIDM0IiwiQmFja0NvbG9yIjpudWxsfSwiRW5kRGF0ZUZvbnRTZXR0aW5ncyI6eyJGb250U2l6ZSI6OSwiRm9udE5hbWUiOiJDZW50dXJ5IEdvdGhpYyIsIklzQm9sZCI6ZmFsc2UsIklzSXRhbGljIjpmYWxzZSwiSXNVbmRlcmxpbmVkIjpmYWxzZSwiRm9yZWdyb3VuZENvbG9yIjoiMjMyLCA3NiwgMzQiLCJCYWNrQ29sb3IiOm51bGx9LCJEdXJhdGlvbkZvbnRTZXR0aW5ncyI6eyJGb250U2l6ZSI6MTAsIkZvbnROYW1lIjoiQ2FsaWJyaSIsIklzQm9sZCI6ZmFsc2UsIklzSXRhbGljIjpmYWxzZSwiSXNVbmRlcmxpbmVkIjpmYWxzZSwiRm9yZWdyb3VuZENvbG9yIjoiMjM4LCAyMzYsIDIyNSIsIkJhY2tDb2xvciI6bnVsbH0sIlRhc2tzU3BhY2luZyI6NSwiU2hhcGVIZWlnaHQiOjEwLjAsIlZlcnRpY2FsQ29ubmVjdG9yU2V0dGluZ3MiOnsiQ29sb3IiOiIyMzgsIDIzNiwgMjI1IiwiSXNWaXNpYmxlIjp0cnVlLCJMaW5lV2VpZ2h0IjozLjB9LCJIb3Jpem9udGFsQ29ubmVjdG9yU2V0dGluZ3MiOnsiQ29sb3IiOiIyMzgsIDIzNiwgMjI1IiwiSXNWaXNpYmxlIjp0cnVlLCJMaW5lV2VpZ2h0IjozLjB9LCJUYXNrU2hhcGVCb3JkZXJTZXR0aW5ncyI6eyJDb2xvciI6IlJlZCIsIkxpbmVXZWlnaHQiOjAuMH0sIlNtYXJ0VGl0bGVGb3JlZ3JvdW5kIjoiODAsIDgwLCA3MCIsIlNtYXJ0VGl0bGVGb3JlZ3JvdW5kSXNBY3RpdmUiOmZhbHN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MC4wLCJEdXJhdGlvbkZvcm1hdCI6MCwiSW50ZXJuYWxJZCI6ImMwYzA1NWFkLTE3MjYtNGZkYy1iZjIxLTNjZjc2MmI0NDcwZCIsIkluZGV4IjoxNiwiQ29sb3IiOiIxNzgsIDM4LCAwIiwiVXRjU3RhcnREYXRlIjoiMjAxNS0wNi0xNFQwMDowMDowMFoiLCJOb3RlIjpudWxsLCJVdGNFbmREYXRlIjoiMjAxNS0wNy0wM1QwMDowMDowMFoiLCJUaXRsZSI6IlVzZXIgQWNjZXB0YW5jZSBUZXN0aW5nICIsIlNoYXBlIjoxLCJDdXN0b21TZXR0aW5ncyI6eyJUaXRsZVdpZHRoIjoxMjAuMCwiVGl0bGVGb250U2V0dGluZ3MiOnsiRm9udFNpemUiOjEwLCJGb250TmFtZSI6IkNlbnR1cnkgR290aGljIiwiSXNCb2xkIjpmYWxzZSwiSXNJdGFsaWMiOmZhbHNlLCJJc1VuZGVybGluZWQiOmZhbHNlLCJGb3JlZ3JvdW5kQ29sb3IiOiI4MCwgODAsIDcwIiwiQmFja0NvbG9yIjpudWxsfSwiU3RhcnREYXRlRm9udFNldHRpbmdzIjp7IkZvbnRTaXplIjo5LCJGb250TmFtZSI6IkNlbnR1cnkgR290aGljIiwiSXNCb2xkIjpmYWxzZSwiSXNJdGFsaWMiOmZhbHNlLCJJc1VuZGVybGluZWQiOmZhbHNlLCJGb3JlZ3JvdW5kQ29sb3IiOiIyMzIsIDc2LCAzNCIsIkJhY2tDb2xvciI6bnVsbH0sIkVuZERhdGVGb250U2V0dGluZ3MiOnsiRm9udFNpemUiOjksIkZvbnROYW1lIjoiQ2VudHVyeSBHb3RoaWMiLCJJc0JvbGQiOmZhbHNlLCJJc0l0YWxpYyI6ZmFsc2UsIklzVW5kZXJsaW5lZCI6ZmFsc2UsIkZvcmVncm91bmRDb2xvciI6IjIzMiwgNzYsIDM0IiwiQmFja0NvbG9yIjpudWxsfSwiRHVyYXRpb25Gb250U2V0dGluZ3MiOnsiRm9udFNpemUiOjEwLCJGb250TmFtZSI6IkNhbGlicmkiLCJJc0JvbGQiOmZhbHNlLCJJc0l0YWxpYyI6ZmFsc2UsIklzVW5kZXJsaW5lZCI6ZmFsc2UsIkZvcmVncm91bmRDb2xvciI6IjIzOCwgMjM2LCAyMjUiLCJCYWNrQ29sb3IiOm51bGx9LCJUYXNrc1NwYWNpbmciOjUsIlNoYXBlSGVpZ2h0IjoxMC4wLCJWZXJ0aWNhbENvbm5lY3RvclNldHRpbmdzIjp7IkNvbG9yIjoiMjM4LCAyMzYsIDIyNSIsIklzVmlzaWJsZSI6dHJ1ZSwiTGluZVdlaWdodCI6MC4xfSwiSG9yaXpvbnRhbENvbm5lY3RvclNldHRpbmdzIjp7IkNvbG9yIjoiMjM4LCAyMzYsIDIyNSIsIklzVmlzaWJsZSI6dHJ1ZSwiTGluZVdlaWdodCI6MC4xfSwiVGFza1NoYXBlQm9yZGVyU2V0dGluZ3MiOnsiQ29sb3IiOiJSZWQiLCJMaW5lV2VpZ2h0IjowLjB9LCJTbWFydFRpdGxlRm9yZWdyb3VuZCI6IjgwLCA4MCwgNzAiLCJTbWFydFRpdGxlRm9yZWdyb3VuZElzQWN0aXZlIjp0cnVlLCJTbWFydER1cmF0aW9uRm9yZWdyb3VuZCI6IldoaXRlIiwiU21hcnREdXJhdGlvbkZvcmVncm91bmRJc0FjdGl2ZSI6dHJ1ZSwiU21hcnREYXRlRm9yZWdyb3VuZCI6IjMxLCA3MywgMTI2IiwiU21hcnREYXRlRm9yZWdyb3VuZElzQWN0aXZlIjpmYWxzZSwiU21hcnRQZXJjZW50YWdlQ29tcGxldGVkRm9yZWdyb3VuZCI6IiIsIlNtYXJ0UGVyY2VudGFnZUNvbXBsZXRlZElzQWN0aXZlIjpmYWxzZSwiSW5jbHVkZU5vbldvcmtpbmdEYXlzSW5EdXJhdGlvbiI6dHJ1ZSwiV29ya2luZ0RheXMiOjAsIlBlcmNlbnRhZ2VDb21wbGV0ZWRGb250U2V0dGluZ3MiOnsiRm9udFNpemUiOjEwLCJGb250TmFtZSI6IkNhbGlicmkiLCJJc0JvbGQiOmZhbHNlLCJJc0l0YWxpYyI6ZmFsc2UsIklzVW5kZXJsaW5lZCI6ZmFsc2UsIkZvcmVncm91bmRDb2xvciI6IjE5MiwgODAsIDc3IiwiQmFja0NvbG9yIjpudWxsfSwiUGVyY2VudGFnZUNvbXBsZXRlZFBvc2l0aW9uIjowfSwiVGFza0RhdGVQb3NpdGlvbiI6MiwiVGFza1RpdGxlUG9zaXRpb24iOjMsIlRhc2tEdXJhdGlvblBvc2l0aW9uIjoxLCJUYXNrVGl0bGVJc1dpZGVyIjpmYWxzZSwiVGFza0R1cmF0aW9uSXNXaWRlciI6ZmFsc2UsIlRhc2tEYXRlSXNXaWRlciI6ZmFsc2UsIlRhc2tQZXJjZW50YWdlQ29tcGxldGVkSXNXaWRlciI6ZmFsc2UsIkRhdGVGb3JtYXQiOnsiRm9ybWF0U3RyaW5nIjoiTS9kIiwiU2VwYXJhdG9yIjoiLyIsIlVzZUludGVybmF0aW9uYWxEYXRlRm9ybWF0IjpmYWxzZX0sIklzVmlzaWJsZSI6dHJ1ZSwiUGVyY2VudGFnZUNvbXBsZXRlZCI6bnVsbH0seyJEdXJhdGlvblZhbHVlIjoyNC4wLCJEdXJhdGlvbkZvcm1hdCI6MCwiSW50ZXJuYWxJZCI6ImFmZjRmODU1LTU0ZWMtNGI0Ny1hYTRmLTk1ZjdiZjgyZGE0NSIsIkluZGV4IjoxNywiQ29sb3IiOiI4MCwgODAsIDcwIiwiVXRjU3RhcnREYXRlIjoiMjAxNS0wNy0wMlQwMDowMDowMFoiLCJOb3RlIjpudWxsLCJVdGNFbmREYXRlIjoiMjAxNS0wNy0yNVQwMDowMDowMFoiLCJUaXRsZSI6IkRvY3VtZW50YXRpb24gIiwiU2hhcGUiOjEsIkN1c3RvbVNldHRpbmdzIjp7IlRpdGxlV2lkdGgiOjgwLjQwMjU5NTUsIlRpdGxlRm9udFNldHRpbmdzIjp7IkZvbnRTaXplIjoxMCwiRm9udE5hbWUiOiJDZW50dXJ5IEdvdGhpYyIsIklzQm9sZCI6ZmFsc2UsIklzSXRhbGljIjpmYWxzZSwiSXNVbmRlcmxpbmVkIjpmYWxzZSwiRm9yZWdyb3VuZENvbG9yIjoiODAsIDgwLCA3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dHJ1ZSwiU21hcnREdXJhdGlvbkZvcmVncm91bmQiOiJXaGl0ZSIsIlNtYXJ0RHVyYXRpb25Gb3JlZ3JvdW5kSXNBY3RpdmUiOnRydWUsIlNtYXJ0RGF0ZUZvcmVncm91bmQiOiIzMSwgNzMsIDEyN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Rhc2tEYXRlUG9zaXRpb24iOjIsIlRhc2tUaXRsZVBvc2l0aW9uIjozLCJUYXNrRHVyYXRpb25Qb3NpdGlvbiI6MSwiVGFza1RpdGxlSXNXaWRlciI6ZmFsc2UsIlRhc2tEdXJhdGlvbklzV2lkZXIiOmZhbHNlLCJUYXNrRGF0ZUlzV2lkZXIiOmZhbHNlLCJUYXNrUGVyY2VudGFnZUNvbXBsZXRlZElzV2lkZXIiOmZhbHNlLCJEYXRlRm9ybWF0Ijp7IkZvcm1hdFN0cmluZyI6Ik0vZCIsIlNlcGFyYXRvciI6Ii8iLCJVc2VJbnRlcm5hdGlvbmFsRGF0ZUZvcm1hdCI6ZmFsc2V9LCJJc1Zpc2libGUiOnRydWUsIlBlcmNlbnRhZ2VDb21wbGV0ZWQiOm51bGx9LHsiRHVyYXRpb25WYWx1ZSI6MjEuMCwiRHVyYXRpb25Gb3JtYXQiOjAsIkludGVybmFsSWQiOiJhYzQ0Y2QwZS1iMjJjLTQ3MzAtODE4Mi1hMzg4NjExYjljMDEiLCJJbmRleCI6MTgsIkNvbG9yIjoiMTc4LCAzOCwgMCIsIlV0Y1N0YXJ0RGF0ZSI6IjIwMTUtMDctMTBUMDA6MDA6MDBaIiwiTm90ZSI6bnVsbCwiVXRjRW5kRGF0ZSI6IjIwMTUtMDctMzBUMDA6MDA6MDBaIiwiVGl0bGUiOiJTdGFnZSAxIFN1Ym1pc3Npb24iLCJTaGFwZSI6MSwiQ3VzdG9tU2V0dGluZ3MiOnsiVGl0bGVXaWR0aCI6OTMuMDI0NzMsIlRpdGxlRm9udFNldHRpbmdzIjp7IkZvbnRTaXplIjoxMCwiRm9udE5hbWUiOiJDZW50dXJ5IEdvdGhpYyIsIklzQm9sZCI6dHJ1ZSwiSXNJdGFsaWMiOnRydWUsIklzVW5kZXJsaW5lZCI6dHJ1ZSwiRm9yZWdyb3VuZENvbG9yIjoiMTc4LCAzOCwgMCIsIkJhY2tDb2xvciI6bnVsbH0sIlN0YXJ0RGF0ZUZvbnRTZXR0aW5ncyI6eyJGb250U2l6ZSI6OSwiRm9udE5hbWUiOiJDZW50dXJ5IEdvdGhpYyIsIklzQm9sZCI6ZmFsc2UsIklzSXRhbGljIjpmYWxzZSwiSXNVbmRlcmxpbmVkIjpmYWxzZSwiRm9yZWdyb3VuZENvbG9yIjoiMjMyLCA3NiwgMzQiLCJCYWNrQ29sb3IiOm51bGx9LCJFbmREYXRlRm9udFNldHRpbmdzIjp7IkZvbnRTaXplIjo5LCJGb250TmFtZSI6IkNlbnR1cnkgR290aGljIiwiSXNCb2xkIjpmYWxzZSwiSXNJdGFsaWMiOmZhbHNlLCJJc1VuZGVybGluZWQiOmZhbHNlLCJGb3JlZ3JvdW5kQ29sb3IiOiIyMzIsIDc2LCAzNCIsIkJhY2tDb2xvciI6bnVsbH0sIkR1cmF0aW9uRm9udFNldHRpbmdzIjp7IkZvbnRTaXplIjoxMCwiRm9udE5hbWUiOiJDYWxpYnJpIiwiSXNCb2xkIjpmYWxzZSwiSXNJdGFsaWMiOmZhbHNlLCJJc1VuZGVybGluZWQiOmZhbHNlLCJGb3JlZ3JvdW5kQ29sb3IiOiIyMzgsIDIzNiwgMjI1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4MCwgODAsIDcwIiwiU21hcnRUaXRsZUZvcmVncm91bmRJc0FjdGl2ZSI6ZmFsc2UsIlNtYXJ0RHVyYXRpb25Gb3JlZ3JvdW5kIjoiV2hpdGUiLCJTbWFydER1cmF0aW9uRm9yZWdyb3VuZElzQWN0aXZlIjp0cnVlLCJTbWFydERhdGVGb3JlZ3JvdW5kIjoiMzEsIDczLCAxMjYiLCJTbWFydERhdGVGb3JlZ3JvdW5kSXNBY3RpdmUiOmZhbHNlLCJTbWFydFBlcmNlbnRhZ2VDb21wbGV0ZWRGb3JlZ3JvdW5kIjoiIiwiU21hcnRQZXJjZW50YWdlQ29tcGxldGVkSXNBY3RpdmUiOmZhbHNlLCJJbmNsdWRlTm9uV29ya2luZ0RheXNJbkR1cmF0aW9uIjp0cnVlLCJXb3JraW5nRGF5cyI6MCwiUGVyY2VudGFnZUNvbXBsZXRlZEZvbnRTZXR0aW5ncyI6eyJGb250U2l6ZSI6MTAsIkZvbnROYW1lIjoiQ2FsaWJyaSIsIklzQm9sZCI6ZmFsc2UsIklzSXRhbGljIjpmYWxzZSwiSXNVbmRlcmxpbmVkIjpmYWxzZSwiRm9yZWdyb3VuZENvbG9yIjoiMTkyLCA4MCwgNzciLCJCYWNrQ29sb3IiOm51bGx9LCJQZXJjZW50YWdlQ29tcGxldGVkUG9zaXRpb24iOjB9LCJUYXNrRGF0ZVBvc2l0aW9uIjoyLCJUYXNrVGl0bGVQb3NpdGlvbiI6MywiVGFza0R1cmF0aW9uUG9zaXRpb24iOjEsIlRhc2tUaXRsZUlzV2lkZXIiOmZhbHNlLCJUYXNrRHVyYXRpb25Jc1dpZGVyIjpmYWxzZSwiVGFza0RhdGVJc1dpZGVyIjpmYWxzZSwiVGFza1BlcmNlbnRhZ2VDb21wbGV0ZWRJc1dpZGVyIjpmYWxzZSwiRGF0ZUZvcm1hdCI6eyJGb3JtYXRTdHJpbmciOiJNL2QiLCJTZXBhcmF0b3IiOiIvIiwiVXNlSW50ZXJuYXRpb25hbERhdGVGb3JtYXQiOmZhbHNlfSwiSXNWaXNpYmxlIjp0cnVlLCJQZXJjZW50YWdlQ29tcGxldGVkIjpudWxsfV0sIlN0eWxlIjp7IlRpbWVsaW5lU2V0dGluZ3MiOnsiVG9kYXlNYXJrZXJDb2xvciI6IjE4MiwgNzMsIDM4IiwiVG9kYXlNYXJrZXJGb250U2V0dGluZ3MiOnsiRm9udFNpemUiOjEwLCJGb250TmFtZSI6IkNlbnR1cnkgR290aGljIiwiSXNCb2xkIjpmYWxzZSwiSXNJdGFsaWMiOmZhbHNlLCJJc1VuZGVybGluZWQiOmZhbHNlLCJGb3JlZ3JvdW5kQ29sb3IiOiIwLCAwLCAwIiwiQmFja0NvbG9yIjpudWxsfSwiU3RhcnRZZWFyRm9udCI6eyJGb250U2l6ZSI6MTgsIkZvbnROYW1lIjoiQ2FsaWJyaSIsIklzQm9sZCI6dHJ1ZSwiSXNJdGFsaWMiOmZhbHNlLCJJc1VuZGVybGluZWQiOmZhbHNlLCJGb3JlZ3JvdW5kQ29sb3IiOiJPcmFuZ2VSZWQiLCJCYWNrQ29sb3IiOm51bGx9LCJFbmRZZWFyRm9udCI6eyJGb250U2l6ZSI6MTgsIkZvbnROYW1lIjoiQ2FsaWJyaSIsIklzQm9sZCI6dHJ1ZSwiSXNJdGFsaWMiOmZhbHNlLCJJc1VuZGVybGluZWQiOmZhbHNlLCJGb3JlZ3JvdW5kQ29sb3IiOiJPcmFuZ2VSZWQiLCJCYWNrQ29sb3IiOm51bGx9LCJJc1RoaW4iOnRydWUsIkhhczNERWZmZWN0Ijp0cnVlLCJUaW1lYmFuZElzUm91bmRlZCI6dHJ1ZSwiVGltZWJhbmRDb2xvciI6IjE2NywgNDcsIDE0IiwiVGltZWJhbmRGb250U2V0dGluZ3MiOnsiRm9udFNpemUiOjEyLCJGb250TmFtZSI6IkNlbnR1cnkgR290aGljIiwiSXNCb2xkIjp0cnVlLCJJc0l0YWxpYyI6ZmFsc2UsIklzVW5kZXJsaW5lZCI6ZmFsc2UsIkZvcmVncm91bmRDb2xvciI6IldoaXRlIiwiQmFja0NvbG9yIjpudWxsfSwiRWxhcHNlZFRpbWVDb2xvciI6IjI1NSwgMTMyLCAzOSIsIkVsYXBzZWRUaW1lU3R5bGUiOjEsIlRvZGF5TWFya2VyUG9zaXRpb24iOjIsIkNhcHNQb3NpdGlvbiI6MH0sIkRlZmF1bHRNaWxlc3RvbmVTZXR0aW5ncyI6eyJGbGFnQ29ubmVjdG9yU2V0dGluZ3MiOnsiQ29sb3IiOiJCbGFjayIsIklzVmlzaWJsZSI6ZmFsc2UsIkxpbmVXZWlnaHQiOjAuMX0sIkRhdGVGb3JtYXQiOnsiRm9ybWF0U3RyaW5nIjoiTS9kL3l5eXkiLCJTZXBhcmF0b3IiOiIvIiwiVXNlSW50ZXJuYXRpb25hbERhdGVGb3JtYXQiOmZhbHNlfSwiSXNEYXRlVmlzaWJsZSI6dHJ1ZSwiVGl0bGVGb250U2V0dGluZ3MiOnsiRm9udFNpemUiOjExLCJGb250TmFtZSI6IkNlbnR1cnkgR290aGljIiwiSXNCb2xkIjpmYWxzZSwiSXNJdGFsaWMiOmZhbHNlLCJJc1VuZGVybGluZWQiOmZhbHNlLCJGb3JlZ3JvdW5kQ29sb3IiOiJCbGFjayIsIkJhY2tDb2xvciI6bnVsbH0sIkRhdGVGb250U2V0dGluZ3MiOnsiRm9udFNpemUiOjEwLCJGb250TmFtZSI6IkNlbnR1cnkgR290aGljIiwiSXNCb2xkIjpmYWxzZSwiSXNJdGFsaWMiOmZhbHNlLCJJc1VuZGVybGluZWQiOmZhbHNlLCJGb3JlZ3JvdW5kQ29sb3IiOiIxNzgsIDM4LCAwIiwiQmFja0NvbG9yIjpudWxsfSwiQ29ubmVjdG9yU2V0dGluZ3MiOnsiQ29sb3IiOiIiLCJJc1Zpc2libGUiOmZhbHNlLCJMaW5lV2VpZ2h0IjowLjF9fSwiRGVmYXVsdFRhc2tTZXR0aW5ncyI6eyJEYXRlRm9udFNldHRpbmdzIjp7IkZvbnRTaXplIjo5LCJGb250TmFtZSI6IkNlbnR1cnkgR290aGljIiwiSXNCb2xkIjpmYWxzZSwiSXNJdGFsaWMiOmZhbHNlLCJJc1VuZGVybGluZWQiOmZhbHNlLCJGb3JlZ3JvdW5kQ29sb3IiOiIyMzIsIDc2LCAzNCIsIkJhY2tDb2xvciI6bnVsbH0sIlN0YXJ0RGF0ZUZvbnRTZXR0aW5ncyI6eyJGb250U2l6ZSI6MTIsIkZvbnROYW1lIjoiQ2FsaWJyaSIsIklzQm9sZCI6ZmFsc2UsIklzSXRhbGljIjpmYWxzZSwiSXNVbmRlcmxpbmVkIjpmYWxzZSwiRm9yZWdyb3VuZENvbG9yIjoiV2hpdGUiLCJCYWNrQ29sb3IiOm51bGx9LCJFbmREYXRlRm9udFNldHRpbmdzIjp7IkZvbnRTaXplIjoxMiwiRm9udE5hbWUiOiJDYWxpYnJpIiwiSXNCb2xkIjpmYWxzZSwiSXNJdGFsaWMiOmZhbHNlLCJJc1VuZGVybGluZWQiOmZhbHNlLCJGb3JlZ3JvdW5kQ29sb3IiOiJXaGl0ZSIsIkJhY2tDb2xvciI6bnVsbH0sIkR1cmF0aW9uRm9udFNldHRpbmdzIjp7IkZvbnRTaXplIjoxMCwiRm9udE5hbWUiOiJDYWxpYnJpIiwiSXNCb2xkIjpmYWxzZSwiSXNJdGFsaWMiOmZhbHNlLCJJc1VuZGVybGluZWQiOmZhbHNlLCJGb3JlZ3JvdW5kQ29sb3IiOiIxOTIsIDgwLCA3NyIsIkJhY2tDb2xvciI6bnVsbH0sIklzVGhpY2siOmZhbHNlLCJUYXNrc0Fib3ZlVGltZWJhbmQiOmZhbHNlLCJEYXRlRm9ybWF0Ijp7IkZvcm1hdFN0cmluZyI6Ik0vZCIsIlNlcGFyYXRvciI6Ii8iLCJVc2VJbnRlcm5hdGlvbmFsRGF0ZUZvcm1hdCI6ZmFsc2V9LCJEdXJhdGlvblBvc2l0aW9uIjoxLCJEdXJhdGlvbkZvcm1hdCI6MCwiUmVuZGVyTG9uZ1Rhc2tUaXRsZUFib3ZlVGFza1NoYXBlIjpmYWxzZSwiSXNIb3Jpem9udGFsQ29ubmVjdG9yVmlzaWJsZSI6dHJ1ZSwiSXNWZXJ0aWNhbENvbm5lY3RvclZpc2libGUiOnRydWUsIkludGVydmFsVGV4dFBvc2l0aW9uIjozLCJJbnRlcnZhbERhdGVQb3NpdGlvbiI6MiwiVGl0bGVXaWR0aCI6bnVsbCwiVGl0bGVGb250U2V0dGluZ3MiOnsiRm9udFNpemUiOjEwLCJGb250TmFtZSI6IkNlbnR1cnkgR290aGljIiwiSXNCb2xkIjpmYWxzZSwiSXNJdGFsaWMiOmZhbHNlLCJJc1VuZGVybGluZWQiOmZhbHNlLCJGb3JlZ3JvdW5kQ29sb3IiOiI4MCwgODAsIDcwIiwiQmFja0NvbG9yIjpudWxsfSwiVGFza3NTcGFjaW5nIjo1LCJTaGFwZUhlaWdodCI6MTAuMCwiVmVydGljYWxDb25uZWN0b3JTZXR0aW5ncyI6eyJDb2xvciI6IjIzOCwgMjM2LCAyMjUiLCJJc1Zpc2libGUiOnRydWUsIkxpbmVXZWlnaHQiOjAuMX0sIkhvcml6b250YWxDb25uZWN0b3JTZXR0aW5ncyI6eyJDb2xvciI6IjIzOCwgMjM2LCAyMjUiLCJJc1Zpc2libGUiOnRydWUsIkxpbmVXZWlnaHQiOjAuMX0sIlRhc2tTaGFwZUJvcmRlclNldHRpbmdzIjp7IkNvbG9yIjoiUmVkIiwiTGluZVdlaWdodCI6MC4wfSwiU21hcnRUaXRsZUZvcmVncm91bmQiOiIiLCJTbWFydFRpdGxlRm9yZWdyb3VuZElzQWN0aXZlIjpmYWxzZSwiU21hcnREdXJhdGlvbkZvcmVncm91bmQiOiIiLCJTbWFydER1cmF0aW9uRm9yZWdyb3VuZElzQWN0aXZlIjpmYWxzZSwiU21hcnREYXRlRm9yZWdyb3VuZCI6IiIsIlNtYXJ0RGF0ZUZvcmVncm91bmRJc0FjdGl2ZSI6ZmFsc2UsIlNtYXJ0UGVyY2VudGFnZUNvbXBsZXRlZEZvcmVncm91bmQiOiIiLCJTbWFydFBlcmNlbnRhZ2VDb21wbGV0ZWRJc0FjdGl2ZSI6ZmFsc2UsIkluY2x1ZGVOb25Xb3JraW5nRGF5c0luRHVyYXRpb24iOnRydWUsIldvcmtpbmdEYXlzIjowLCJQZXJjZW50YWdlQ29tcGxldGVkRm9udFNldHRpbmdzIjp7IkZvbnRTaXplIjoxMCwiRm9udE5hbWUiOiJDYWxpYnJpIiwiSXNCb2xkIjpmYWxzZSwiSXNJdGFsaWMiOmZhbHNlLCJJc1VuZGVybGluZWQiOmZhbHNlLCJGb3JlZ3JvdW5kQ29sb3IiOiIxOTIsIDgwLCA3NyIsIkJhY2tDb2xvciI6bnVsbH0sIlBlcmNlbnRhZ2VDb21wbGV0ZWRQb3NpdGlvbiI6MH0sIlNjYWxlU2V0dGluZ3MiOnsiRGF0ZUZvcm1hdCI6Ik1NTSIsIkludGVydmFsVHlwZSI6NSwiVXNlQXV0b21hdGljVGltZVNjYWxlIjp0cnVlLCJDdXN0b21UaW1lU2NhbGVVdGNTdGFydERhdGUiOiIyMDE0LTA2LTE4VDAwOjAwOjAwWiIsIkN1c3RvbVRpbWVTY2FsZVV0Y0VuZERhdGUiOiIyMDE1LTA3LTMxVDAwOjAwOjAwWiJ9fSwiVGltZWJhbmRWZXJ0aWNhbFBvc2l0aW9uIjp7IlF1aWNrUG9zaXRpb24iOjMsIlJlbGF0aXZlUG9zaXRpb24iOjE1LjAsIkFic29sdXRlUG9zaXRpb24iOjgxLjAsIlByZXZpb3VzQWJzb2x1dGVQb3NpdGlvbiI6ODEuMH19"/>
  <p:tag name="__MASTER" val="__part_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1_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2</Words>
  <Application>Microsoft Office PowerPoint</Application>
  <PresentationFormat>Widescreen</PresentationFormat>
  <Paragraphs>5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Century Gothic</vt:lpstr>
      <vt:lpstr>CMU Serif</vt:lpstr>
      <vt:lpstr>District Pro Thin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09-17T19:02:55Z</dcterms:created>
  <dcterms:modified xsi:type="dcterms:W3CDTF">2016-05-31T20:41:35Z</dcterms:modified>
</cp:coreProperties>
</file>